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4"/>
  </p:notesMasterIdLst>
  <p:sldIdLst>
    <p:sldId id="1119" r:id="rId6"/>
    <p:sldId id="1120" r:id="rId7"/>
    <p:sldId id="1124" r:id="rId8"/>
    <p:sldId id="1147" r:id="rId9"/>
    <p:sldId id="1148" r:id="rId10"/>
    <p:sldId id="1149" r:id="rId11"/>
    <p:sldId id="1129" r:id="rId12"/>
    <p:sldId id="1126" r:id="rId13"/>
    <p:sldId id="1128" r:id="rId14"/>
    <p:sldId id="1130" r:id="rId15"/>
    <p:sldId id="1152" r:id="rId16"/>
    <p:sldId id="1133" r:id="rId17"/>
    <p:sldId id="1131" r:id="rId18"/>
    <p:sldId id="1132" r:id="rId19"/>
    <p:sldId id="1153" r:id="rId20"/>
    <p:sldId id="1145" r:id="rId21"/>
    <p:sldId id="1134" r:id="rId22"/>
    <p:sldId id="1151" r:id="rId23"/>
  </p:sldIdLst>
  <p:sldSz cx="12192000" cy="6858000"/>
  <p:notesSz cx="6797675" cy="9872663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3" pos="302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395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794803-0F35-4901-E89E-5CB8DC5E2FBD}" name="Victor Szabo" initials="VS" userId="S::vs@industrialtech.vc::c4c424bc-df97-425e-910a-a97094788bea" providerId="AD"/>
  <p188:author id="{05194308-A196-9C3A-5F5A-6973C5DB192A}" name="Ines Kolmsee" initials="IK" userId="S::ines.kolmsee@matterwave.vc::3bfc5d26-1701-4b55-afeb-d02366c60214" providerId="AD"/>
  <p188:author id="{C8354140-E221-8539-23EF-1D2A544D3A7F}" name="Robert Gallenberger" initials="RG" userId="S::robert.gallenberger@matterwave.vc::17c0ee81-3156-4cbb-bf35-c6b6522c6f71" providerId="AD"/>
  <p188:author id="{B345625F-09E1-4448-3226-C859067E4D1B}" name="Robert Gallenberger" initials="RG" userId="S::rg@industrialtech.vc::17c0ee81-3156-4cbb-bf35-c6b6522c6f71" providerId="AD"/>
  <p188:author id="{78D00064-62ED-77AB-2A8A-DB20C0530A88}" name="Ute Theel" initials="UT" userId="S::ute.theel@matterwave.vc::070b5a04-3ece-44b4-9224-2d546117023f" providerId="AD"/>
  <p188:author id="{1C697290-725F-046E-F82A-249355093409}" name="Silviu Apostu" initials="SA" userId="S::silviu.apostu@matterwave.vc::7d54ca87-cfcd-43be-815b-996ee07356f5" providerId="AD"/>
  <p188:author id="{13AF61AF-EA21-C96E-92BB-F619CFCA111E}" name="Jan Bohnerth" initials="JB" userId="S::jan@lifesizemedia.onmicrosoft.com::a97ddb4c-14ee-41a5-bda8-8c3f99d436cc" providerId="AD"/>
  <p188:author id="{F9BF54D9-E28C-BDB2-2EF3-35CE2A8D1EAD}" name="Robert Gallenberger" initials="RG" userId="S::robert.gallenberger@btov.vc::3922901a-4808-4c1e-a626-811bc7ba5d9d" providerId="AD"/>
  <p188:author id="{B29FE2DD-DCC3-06F8-387A-9226259A09E5}" name="martinfromm@gmx.de" initials="m" userId="36ea3fccb94a1f6d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9FF9E4"/>
    <a:srgbClr val="ECF4ED"/>
    <a:srgbClr val="123596"/>
    <a:srgbClr val="EDF4EE"/>
    <a:srgbClr val="F6F9F6"/>
    <a:srgbClr val="595959"/>
    <a:srgbClr val="EEF0EC"/>
    <a:srgbClr val="065C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6D51D4-E5E0-4B33-B31B-AC66B64CEFB2}" v="22" dt="2023-02-17T14:05:16.7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61"/>
    <p:restoredTop sz="95250" autoAdjust="0"/>
  </p:normalViewPr>
  <p:slideViewPr>
    <p:cSldViewPr snapToGrid="0">
      <p:cViewPr varScale="1">
        <p:scale>
          <a:sx n="82" d="100"/>
          <a:sy n="82" d="100"/>
        </p:scale>
        <p:origin x="960" y="48"/>
      </p:cViewPr>
      <p:guideLst>
        <p:guide orient="horz" pos="4133"/>
        <p:guide pos="302"/>
        <p:guide pos="3727"/>
        <p:guide pos="395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laudia Gnyla" userId="7fd7bc4b-04b7-46f5-adb4-8d479a07b147" providerId="ADAL" clId="{B16D51D4-E5E0-4B33-B31B-AC66B64CEFB2}"/>
    <pc:docChg chg="undo custSel modSld">
      <pc:chgData name="Klaudia Gnyla" userId="7fd7bc4b-04b7-46f5-adb4-8d479a07b147" providerId="ADAL" clId="{B16D51D4-E5E0-4B33-B31B-AC66B64CEFB2}" dt="2023-02-17T14:05:16.790" v="48"/>
      <pc:docMkLst>
        <pc:docMk/>
      </pc:docMkLst>
      <pc:sldChg chg="addSp delSp modSp mod">
        <pc:chgData name="Klaudia Gnyla" userId="7fd7bc4b-04b7-46f5-adb4-8d479a07b147" providerId="ADAL" clId="{B16D51D4-E5E0-4B33-B31B-AC66B64CEFB2}" dt="2023-02-17T14:02:27.290" v="3" actId="478"/>
        <pc:sldMkLst>
          <pc:docMk/>
          <pc:sldMk cId="1000952093" sldId="1119"/>
        </pc:sldMkLst>
        <pc:spChg chg="add del mod">
          <ac:chgData name="Klaudia Gnyla" userId="7fd7bc4b-04b7-46f5-adb4-8d479a07b147" providerId="ADAL" clId="{B16D51D4-E5E0-4B33-B31B-AC66B64CEFB2}" dt="2023-02-17T14:02:19.237" v="2" actId="478"/>
          <ac:spMkLst>
            <pc:docMk/>
            <pc:sldMk cId="1000952093" sldId="1119"/>
            <ac:spMk id="14" creationId="{B46FD43B-95E8-0344-9485-DDBB6B61963C}"/>
          </ac:spMkLst>
        </pc:spChg>
        <pc:grpChg chg="del">
          <ac:chgData name="Klaudia Gnyla" userId="7fd7bc4b-04b7-46f5-adb4-8d479a07b147" providerId="ADAL" clId="{B16D51D4-E5E0-4B33-B31B-AC66B64CEFB2}" dt="2023-02-17T14:02:27.290" v="3" actId="478"/>
          <ac:grpSpMkLst>
            <pc:docMk/>
            <pc:sldMk cId="1000952093" sldId="1119"/>
            <ac:grpSpMk id="7" creationId="{BD32BA67-95E2-44F8-8123-4AE8FC0F7851}"/>
          </ac:grpSpMkLst>
        </pc:grpChg>
      </pc:sldChg>
      <pc:sldChg chg="addSp modSp mod">
        <pc:chgData name="Klaudia Gnyla" userId="7fd7bc4b-04b7-46f5-adb4-8d479a07b147" providerId="ADAL" clId="{B16D51D4-E5E0-4B33-B31B-AC66B64CEFB2}" dt="2023-02-17T14:03:50.574" v="15" actId="208"/>
        <pc:sldMkLst>
          <pc:docMk/>
          <pc:sldMk cId="2008748543" sldId="1120"/>
        </pc:sldMkLst>
        <pc:spChg chg="add mod">
          <ac:chgData name="Klaudia Gnyla" userId="7fd7bc4b-04b7-46f5-adb4-8d479a07b147" providerId="ADAL" clId="{B16D51D4-E5E0-4B33-B31B-AC66B64CEFB2}" dt="2023-02-17T14:03:50.574" v="15" actId="208"/>
          <ac:spMkLst>
            <pc:docMk/>
            <pc:sldMk cId="2008748543" sldId="1120"/>
            <ac:spMk id="2" creationId="{0E567735-24CC-8A49-1241-654EB4F513BC}"/>
          </ac:spMkLst>
        </pc:spChg>
      </pc:sldChg>
      <pc:sldChg chg="addSp modSp mod">
        <pc:chgData name="Klaudia Gnyla" userId="7fd7bc4b-04b7-46f5-adb4-8d479a07b147" providerId="ADAL" clId="{B16D51D4-E5E0-4B33-B31B-AC66B64CEFB2}" dt="2023-02-17T14:03:58.547" v="17" actId="1076"/>
        <pc:sldMkLst>
          <pc:docMk/>
          <pc:sldMk cId="851914168" sldId="1124"/>
        </pc:sldMkLst>
        <pc:spChg chg="add mod">
          <ac:chgData name="Klaudia Gnyla" userId="7fd7bc4b-04b7-46f5-adb4-8d479a07b147" providerId="ADAL" clId="{B16D51D4-E5E0-4B33-B31B-AC66B64CEFB2}" dt="2023-02-17T14:03:11.323" v="5" actId="207"/>
          <ac:spMkLst>
            <pc:docMk/>
            <pc:sldMk cId="851914168" sldId="1124"/>
            <ac:spMk id="4" creationId="{8B3131A2-868C-0059-09DA-A42B70C4FA08}"/>
          </ac:spMkLst>
        </pc:spChg>
        <pc:spChg chg="add mod">
          <ac:chgData name="Klaudia Gnyla" userId="7fd7bc4b-04b7-46f5-adb4-8d479a07b147" providerId="ADAL" clId="{B16D51D4-E5E0-4B33-B31B-AC66B64CEFB2}" dt="2023-02-17T14:03:58.547" v="17" actId="1076"/>
          <ac:spMkLst>
            <pc:docMk/>
            <pc:sldMk cId="851914168" sldId="1124"/>
            <ac:spMk id="14" creationId="{9C10775C-48C6-F792-8AE8-9BB5FC48C46E}"/>
          </ac:spMkLst>
        </pc:spChg>
      </pc:sldChg>
      <pc:sldChg chg="addSp delSp modSp mod">
        <pc:chgData name="Klaudia Gnyla" userId="7fd7bc4b-04b7-46f5-adb4-8d479a07b147" providerId="ADAL" clId="{B16D51D4-E5E0-4B33-B31B-AC66B64CEFB2}" dt="2023-02-17T14:04:37.009" v="36" actId="478"/>
        <pc:sldMkLst>
          <pc:docMk/>
          <pc:sldMk cId="3957391886" sldId="1126"/>
        </pc:sldMkLst>
        <pc:spChg chg="add del mod">
          <ac:chgData name="Klaudia Gnyla" userId="7fd7bc4b-04b7-46f5-adb4-8d479a07b147" providerId="ADAL" clId="{B16D51D4-E5E0-4B33-B31B-AC66B64CEFB2}" dt="2023-02-17T14:04:37.009" v="36" actId="478"/>
          <ac:spMkLst>
            <pc:docMk/>
            <pc:sldMk cId="3957391886" sldId="1126"/>
            <ac:spMk id="5" creationId="{F128BD09-C21A-14A1-E3AB-62E254AC2895}"/>
          </ac:spMkLst>
        </pc:spChg>
        <pc:spChg chg="add mod">
          <ac:chgData name="Klaudia Gnyla" userId="7fd7bc4b-04b7-46f5-adb4-8d479a07b147" providerId="ADAL" clId="{B16D51D4-E5E0-4B33-B31B-AC66B64CEFB2}" dt="2023-02-17T14:04:34.482" v="34"/>
          <ac:spMkLst>
            <pc:docMk/>
            <pc:sldMk cId="3957391886" sldId="1126"/>
            <ac:spMk id="7" creationId="{E46C3F94-636D-C660-D203-7F0A2669211E}"/>
          </ac:spMkLst>
        </pc:spChg>
      </pc:sldChg>
      <pc:sldChg chg="addSp modSp">
        <pc:chgData name="Klaudia Gnyla" userId="7fd7bc4b-04b7-46f5-adb4-8d479a07b147" providerId="ADAL" clId="{B16D51D4-E5E0-4B33-B31B-AC66B64CEFB2}" dt="2023-02-17T14:04:39.590" v="37"/>
        <pc:sldMkLst>
          <pc:docMk/>
          <pc:sldMk cId="3578681514" sldId="1128"/>
        </pc:sldMkLst>
        <pc:spChg chg="add mod">
          <ac:chgData name="Klaudia Gnyla" userId="7fd7bc4b-04b7-46f5-adb4-8d479a07b147" providerId="ADAL" clId="{B16D51D4-E5E0-4B33-B31B-AC66B64CEFB2}" dt="2023-02-17T14:04:39.590" v="37"/>
          <ac:spMkLst>
            <pc:docMk/>
            <pc:sldMk cId="3578681514" sldId="1128"/>
            <ac:spMk id="7" creationId="{28587686-CACC-6C00-240C-95C995992245}"/>
          </ac:spMkLst>
        </pc:spChg>
      </pc:sldChg>
      <pc:sldChg chg="addSp delSp modSp mod">
        <pc:chgData name="Klaudia Gnyla" userId="7fd7bc4b-04b7-46f5-adb4-8d479a07b147" providerId="ADAL" clId="{B16D51D4-E5E0-4B33-B31B-AC66B64CEFB2}" dt="2023-02-17T14:04:30.877" v="33" actId="478"/>
        <pc:sldMkLst>
          <pc:docMk/>
          <pc:sldMk cId="530088360" sldId="1129"/>
        </pc:sldMkLst>
        <pc:spChg chg="add del mod">
          <ac:chgData name="Klaudia Gnyla" userId="7fd7bc4b-04b7-46f5-adb4-8d479a07b147" providerId="ADAL" clId="{B16D51D4-E5E0-4B33-B31B-AC66B64CEFB2}" dt="2023-02-17T14:04:30.877" v="33" actId="478"/>
          <ac:spMkLst>
            <pc:docMk/>
            <pc:sldMk cId="530088360" sldId="1129"/>
            <ac:spMk id="8" creationId="{9232DEAF-B994-AA3F-2C0D-5E5E1841C648}"/>
          </ac:spMkLst>
        </pc:spChg>
        <pc:spChg chg="add mod">
          <ac:chgData name="Klaudia Gnyla" userId="7fd7bc4b-04b7-46f5-adb4-8d479a07b147" providerId="ADAL" clId="{B16D51D4-E5E0-4B33-B31B-AC66B64CEFB2}" dt="2023-02-17T14:04:28.700" v="32"/>
          <ac:spMkLst>
            <pc:docMk/>
            <pc:sldMk cId="530088360" sldId="1129"/>
            <ac:spMk id="10" creationId="{2AA7A68F-199E-E77C-4274-264BBEF05D9D}"/>
          </ac:spMkLst>
        </pc:spChg>
      </pc:sldChg>
      <pc:sldChg chg="addSp modSp mod">
        <pc:chgData name="Klaudia Gnyla" userId="7fd7bc4b-04b7-46f5-adb4-8d479a07b147" providerId="ADAL" clId="{B16D51D4-E5E0-4B33-B31B-AC66B64CEFB2}" dt="2023-02-17T14:04:56.836" v="40" actId="166"/>
        <pc:sldMkLst>
          <pc:docMk/>
          <pc:sldMk cId="1184138871" sldId="1130"/>
        </pc:sldMkLst>
        <pc:spChg chg="ord">
          <ac:chgData name="Klaudia Gnyla" userId="7fd7bc4b-04b7-46f5-adb4-8d479a07b147" providerId="ADAL" clId="{B16D51D4-E5E0-4B33-B31B-AC66B64CEFB2}" dt="2023-02-17T14:04:56.836" v="40" actId="166"/>
          <ac:spMkLst>
            <pc:docMk/>
            <pc:sldMk cId="1184138871" sldId="1130"/>
            <ac:spMk id="5" creationId="{99BE06D7-B43C-C3EE-AFE9-CC30816B978F}"/>
          </ac:spMkLst>
        </pc:spChg>
        <pc:spChg chg="add mod ord">
          <ac:chgData name="Klaudia Gnyla" userId="7fd7bc4b-04b7-46f5-adb4-8d479a07b147" providerId="ADAL" clId="{B16D51D4-E5E0-4B33-B31B-AC66B64CEFB2}" dt="2023-02-17T14:04:51.516" v="39" actId="171"/>
          <ac:spMkLst>
            <pc:docMk/>
            <pc:sldMk cId="1184138871" sldId="1130"/>
            <ac:spMk id="6" creationId="{74D5094A-C930-8A61-9230-0827B024E3C3}"/>
          </ac:spMkLst>
        </pc:spChg>
      </pc:sldChg>
      <pc:sldChg chg="addSp modSp">
        <pc:chgData name="Klaudia Gnyla" userId="7fd7bc4b-04b7-46f5-adb4-8d479a07b147" providerId="ADAL" clId="{B16D51D4-E5E0-4B33-B31B-AC66B64CEFB2}" dt="2023-02-17T14:05:05.185" v="43"/>
        <pc:sldMkLst>
          <pc:docMk/>
          <pc:sldMk cId="2476394828" sldId="1131"/>
        </pc:sldMkLst>
        <pc:spChg chg="add mod">
          <ac:chgData name="Klaudia Gnyla" userId="7fd7bc4b-04b7-46f5-adb4-8d479a07b147" providerId="ADAL" clId="{B16D51D4-E5E0-4B33-B31B-AC66B64CEFB2}" dt="2023-02-17T14:05:05.185" v="43"/>
          <ac:spMkLst>
            <pc:docMk/>
            <pc:sldMk cId="2476394828" sldId="1131"/>
            <ac:spMk id="8" creationId="{8F443A3E-E0C2-B508-3D3F-26ABDB81E582}"/>
          </ac:spMkLst>
        </pc:spChg>
      </pc:sldChg>
      <pc:sldChg chg="addSp modSp">
        <pc:chgData name="Klaudia Gnyla" userId="7fd7bc4b-04b7-46f5-adb4-8d479a07b147" providerId="ADAL" clId="{B16D51D4-E5E0-4B33-B31B-AC66B64CEFB2}" dt="2023-02-17T14:05:07.379" v="44"/>
        <pc:sldMkLst>
          <pc:docMk/>
          <pc:sldMk cId="1462060823" sldId="1132"/>
        </pc:sldMkLst>
        <pc:spChg chg="add mod">
          <ac:chgData name="Klaudia Gnyla" userId="7fd7bc4b-04b7-46f5-adb4-8d479a07b147" providerId="ADAL" clId="{B16D51D4-E5E0-4B33-B31B-AC66B64CEFB2}" dt="2023-02-17T14:05:07.379" v="44"/>
          <ac:spMkLst>
            <pc:docMk/>
            <pc:sldMk cId="1462060823" sldId="1132"/>
            <ac:spMk id="11" creationId="{4B8A6555-995C-997D-258C-EE0F8EC1E381}"/>
          </ac:spMkLst>
        </pc:spChg>
      </pc:sldChg>
      <pc:sldChg chg="addSp modSp">
        <pc:chgData name="Klaudia Gnyla" userId="7fd7bc4b-04b7-46f5-adb4-8d479a07b147" providerId="ADAL" clId="{B16D51D4-E5E0-4B33-B31B-AC66B64CEFB2}" dt="2023-02-17T14:05:03.307" v="42"/>
        <pc:sldMkLst>
          <pc:docMk/>
          <pc:sldMk cId="2814064962" sldId="1133"/>
        </pc:sldMkLst>
        <pc:spChg chg="add mod">
          <ac:chgData name="Klaudia Gnyla" userId="7fd7bc4b-04b7-46f5-adb4-8d479a07b147" providerId="ADAL" clId="{B16D51D4-E5E0-4B33-B31B-AC66B64CEFB2}" dt="2023-02-17T14:05:03.307" v="42"/>
          <ac:spMkLst>
            <pc:docMk/>
            <pc:sldMk cId="2814064962" sldId="1133"/>
            <ac:spMk id="6" creationId="{7937B15B-2D23-F0F4-3E2C-E56900AE23B2}"/>
          </ac:spMkLst>
        </pc:spChg>
      </pc:sldChg>
      <pc:sldChg chg="addSp modSp">
        <pc:chgData name="Klaudia Gnyla" userId="7fd7bc4b-04b7-46f5-adb4-8d479a07b147" providerId="ADAL" clId="{B16D51D4-E5E0-4B33-B31B-AC66B64CEFB2}" dt="2023-02-17T14:05:15.430" v="47"/>
        <pc:sldMkLst>
          <pc:docMk/>
          <pc:sldMk cId="959709447" sldId="1134"/>
        </pc:sldMkLst>
        <pc:spChg chg="add mod">
          <ac:chgData name="Klaudia Gnyla" userId="7fd7bc4b-04b7-46f5-adb4-8d479a07b147" providerId="ADAL" clId="{B16D51D4-E5E0-4B33-B31B-AC66B64CEFB2}" dt="2023-02-17T14:05:15.430" v="47"/>
          <ac:spMkLst>
            <pc:docMk/>
            <pc:sldMk cId="959709447" sldId="1134"/>
            <ac:spMk id="26" creationId="{644EB6E7-296F-E62C-0C3D-81B4ECA74128}"/>
          </ac:spMkLst>
        </pc:spChg>
      </pc:sldChg>
      <pc:sldChg chg="addSp modSp">
        <pc:chgData name="Klaudia Gnyla" userId="7fd7bc4b-04b7-46f5-adb4-8d479a07b147" providerId="ADAL" clId="{B16D51D4-E5E0-4B33-B31B-AC66B64CEFB2}" dt="2023-02-17T14:05:13.459" v="46"/>
        <pc:sldMkLst>
          <pc:docMk/>
          <pc:sldMk cId="3066080815" sldId="1145"/>
        </pc:sldMkLst>
        <pc:spChg chg="add mod">
          <ac:chgData name="Klaudia Gnyla" userId="7fd7bc4b-04b7-46f5-adb4-8d479a07b147" providerId="ADAL" clId="{B16D51D4-E5E0-4B33-B31B-AC66B64CEFB2}" dt="2023-02-17T14:05:13.459" v="46"/>
          <ac:spMkLst>
            <pc:docMk/>
            <pc:sldMk cId="3066080815" sldId="1145"/>
            <ac:spMk id="10" creationId="{146C4116-A837-12F2-6592-7E30B250DE76}"/>
          </ac:spMkLst>
        </pc:spChg>
      </pc:sldChg>
      <pc:sldChg chg="addSp modSp mod">
        <pc:chgData name="Klaudia Gnyla" userId="7fd7bc4b-04b7-46f5-adb4-8d479a07b147" providerId="ADAL" clId="{B16D51D4-E5E0-4B33-B31B-AC66B64CEFB2}" dt="2023-02-17T14:04:02.625" v="19" actId="1076"/>
        <pc:sldMkLst>
          <pc:docMk/>
          <pc:sldMk cId="2584596777" sldId="1147"/>
        </pc:sldMkLst>
        <pc:spChg chg="add mod">
          <ac:chgData name="Klaudia Gnyla" userId="7fd7bc4b-04b7-46f5-adb4-8d479a07b147" providerId="ADAL" clId="{B16D51D4-E5E0-4B33-B31B-AC66B64CEFB2}" dt="2023-02-17T14:03:17.997" v="7"/>
          <ac:spMkLst>
            <pc:docMk/>
            <pc:sldMk cId="2584596777" sldId="1147"/>
            <ac:spMk id="4" creationId="{1911C4DA-1A00-E899-320F-1AACD618C92F}"/>
          </ac:spMkLst>
        </pc:spChg>
        <pc:spChg chg="add mod">
          <ac:chgData name="Klaudia Gnyla" userId="7fd7bc4b-04b7-46f5-adb4-8d479a07b147" providerId="ADAL" clId="{B16D51D4-E5E0-4B33-B31B-AC66B64CEFB2}" dt="2023-02-17T14:04:02.625" v="19" actId="1076"/>
          <ac:spMkLst>
            <pc:docMk/>
            <pc:sldMk cId="2584596777" sldId="1147"/>
            <ac:spMk id="5" creationId="{F8FDB5A1-C4E6-0C59-8EF4-0987C9F306BD}"/>
          </ac:spMkLst>
        </pc:spChg>
      </pc:sldChg>
      <pc:sldChg chg="addSp modSp mod">
        <pc:chgData name="Klaudia Gnyla" userId="7fd7bc4b-04b7-46f5-adb4-8d479a07b147" providerId="ADAL" clId="{B16D51D4-E5E0-4B33-B31B-AC66B64CEFB2}" dt="2023-02-17T14:04:13.722" v="26" actId="1036"/>
        <pc:sldMkLst>
          <pc:docMk/>
          <pc:sldMk cId="155345028" sldId="1148"/>
        </pc:sldMkLst>
        <pc:spChg chg="add mod">
          <ac:chgData name="Klaudia Gnyla" userId="7fd7bc4b-04b7-46f5-adb4-8d479a07b147" providerId="ADAL" clId="{B16D51D4-E5E0-4B33-B31B-AC66B64CEFB2}" dt="2023-02-17T14:03:19.991" v="8"/>
          <ac:spMkLst>
            <pc:docMk/>
            <pc:sldMk cId="155345028" sldId="1148"/>
            <ac:spMk id="5" creationId="{CC08AE8F-5689-14F7-3025-7F62EDE2BCDB}"/>
          </ac:spMkLst>
        </pc:spChg>
        <pc:spChg chg="add mod">
          <ac:chgData name="Klaudia Gnyla" userId="7fd7bc4b-04b7-46f5-adb4-8d479a07b147" providerId="ADAL" clId="{B16D51D4-E5E0-4B33-B31B-AC66B64CEFB2}" dt="2023-02-17T14:04:13.722" v="26" actId="1036"/>
          <ac:spMkLst>
            <pc:docMk/>
            <pc:sldMk cId="155345028" sldId="1148"/>
            <ac:spMk id="10" creationId="{AFFC9907-05E5-85C3-5440-CA255096B324}"/>
          </ac:spMkLst>
        </pc:spChg>
      </pc:sldChg>
      <pc:sldChg chg="addSp delSp modSp mod">
        <pc:chgData name="Klaudia Gnyla" userId="7fd7bc4b-04b7-46f5-adb4-8d479a07b147" providerId="ADAL" clId="{B16D51D4-E5E0-4B33-B31B-AC66B64CEFB2}" dt="2023-02-17T14:04:26.252" v="31" actId="478"/>
        <pc:sldMkLst>
          <pc:docMk/>
          <pc:sldMk cId="1476040436" sldId="1149"/>
        </pc:sldMkLst>
        <pc:spChg chg="add del mod">
          <ac:chgData name="Klaudia Gnyla" userId="7fd7bc4b-04b7-46f5-adb4-8d479a07b147" providerId="ADAL" clId="{B16D51D4-E5E0-4B33-B31B-AC66B64CEFB2}" dt="2023-02-17T14:04:26.252" v="31" actId="478"/>
          <ac:spMkLst>
            <pc:docMk/>
            <pc:sldMk cId="1476040436" sldId="1149"/>
            <ac:spMk id="10" creationId="{46060E1C-2780-7109-A558-E427F10FEC52}"/>
          </ac:spMkLst>
        </pc:spChg>
        <pc:spChg chg="add mod">
          <ac:chgData name="Klaudia Gnyla" userId="7fd7bc4b-04b7-46f5-adb4-8d479a07b147" providerId="ADAL" clId="{B16D51D4-E5E0-4B33-B31B-AC66B64CEFB2}" dt="2023-02-17T14:04:23.978" v="30" actId="14100"/>
          <ac:spMkLst>
            <pc:docMk/>
            <pc:sldMk cId="1476040436" sldId="1149"/>
            <ac:spMk id="11" creationId="{A81DD030-0CE0-4E37-6050-4EFE0EC56199}"/>
          </ac:spMkLst>
        </pc:spChg>
      </pc:sldChg>
      <pc:sldChg chg="addSp modSp">
        <pc:chgData name="Klaudia Gnyla" userId="7fd7bc4b-04b7-46f5-adb4-8d479a07b147" providerId="ADAL" clId="{B16D51D4-E5E0-4B33-B31B-AC66B64CEFB2}" dt="2023-02-17T14:05:16.790" v="48"/>
        <pc:sldMkLst>
          <pc:docMk/>
          <pc:sldMk cId="2833304210" sldId="1151"/>
        </pc:sldMkLst>
        <pc:spChg chg="add mod">
          <ac:chgData name="Klaudia Gnyla" userId="7fd7bc4b-04b7-46f5-adb4-8d479a07b147" providerId="ADAL" clId="{B16D51D4-E5E0-4B33-B31B-AC66B64CEFB2}" dt="2023-02-17T14:05:16.790" v="48"/>
          <ac:spMkLst>
            <pc:docMk/>
            <pc:sldMk cId="2833304210" sldId="1151"/>
            <ac:spMk id="5" creationId="{7CC7A523-E03C-9275-7076-DC6B139C222A}"/>
          </ac:spMkLst>
        </pc:spChg>
      </pc:sldChg>
      <pc:sldChg chg="addSp modSp">
        <pc:chgData name="Klaudia Gnyla" userId="7fd7bc4b-04b7-46f5-adb4-8d479a07b147" providerId="ADAL" clId="{B16D51D4-E5E0-4B33-B31B-AC66B64CEFB2}" dt="2023-02-17T14:05:00.630" v="41"/>
        <pc:sldMkLst>
          <pc:docMk/>
          <pc:sldMk cId="2782971473" sldId="1152"/>
        </pc:sldMkLst>
        <pc:spChg chg="add mod">
          <ac:chgData name="Klaudia Gnyla" userId="7fd7bc4b-04b7-46f5-adb4-8d479a07b147" providerId="ADAL" clId="{B16D51D4-E5E0-4B33-B31B-AC66B64CEFB2}" dt="2023-02-17T14:05:00.630" v="41"/>
          <ac:spMkLst>
            <pc:docMk/>
            <pc:sldMk cId="2782971473" sldId="1152"/>
            <ac:spMk id="2" creationId="{A0552793-CC69-3FD0-090B-269320934146}"/>
          </ac:spMkLst>
        </pc:spChg>
      </pc:sldChg>
      <pc:sldChg chg="addSp modSp">
        <pc:chgData name="Klaudia Gnyla" userId="7fd7bc4b-04b7-46f5-adb4-8d479a07b147" providerId="ADAL" clId="{B16D51D4-E5E0-4B33-B31B-AC66B64CEFB2}" dt="2023-02-17T14:05:10.642" v="45"/>
        <pc:sldMkLst>
          <pc:docMk/>
          <pc:sldMk cId="2304023712" sldId="1153"/>
        </pc:sldMkLst>
        <pc:spChg chg="add mod">
          <ac:chgData name="Klaudia Gnyla" userId="7fd7bc4b-04b7-46f5-adb4-8d479a07b147" providerId="ADAL" clId="{B16D51D4-E5E0-4B33-B31B-AC66B64CEFB2}" dt="2023-02-17T14:05:10.642" v="45"/>
          <ac:spMkLst>
            <pc:docMk/>
            <pc:sldMk cId="2304023712" sldId="1153"/>
            <ac:spMk id="2" creationId="{2E049E5F-9B9F-CAEC-532C-8FD1B5E1172E}"/>
          </ac:spMkLst>
        </pc:spChg>
      </pc:sldChg>
    </pc:docChg>
  </pc:docChgLst>
  <pc:docChgLst>
    <pc:chgData name="Klaudia Gnyla" userId="7fd7bc4b-04b7-46f5-adb4-8d479a07b147" providerId="ADAL" clId="{A19D0BC1-E35A-42A7-A142-B110AE038B41}"/>
    <pc:docChg chg="undo custSel modSld">
      <pc:chgData name="Klaudia Gnyla" userId="7fd7bc4b-04b7-46f5-adb4-8d479a07b147" providerId="ADAL" clId="{A19D0BC1-E35A-42A7-A142-B110AE038B41}" dt="2023-02-15T13:17:31.357" v="784" actId="1036"/>
      <pc:docMkLst>
        <pc:docMk/>
      </pc:docMkLst>
      <pc:sldChg chg="modSp mod">
        <pc:chgData name="Klaudia Gnyla" userId="7fd7bc4b-04b7-46f5-adb4-8d479a07b147" providerId="ADAL" clId="{A19D0BC1-E35A-42A7-A142-B110AE038B41}" dt="2023-02-15T12:40:33.649" v="760" actId="20577"/>
        <pc:sldMkLst>
          <pc:docMk/>
          <pc:sldMk cId="1000952093" sldId="1119"/>
        </pc:sldMkLst>
        <pc:spChg chg="mod">
          <ac:chgData name="Klaudia Gnyla" userId="7fd7bc4b-04b7-46f5-adb4-8d479a07b147" providerId="ADAL" clId="{A19D0BC1-E35A-42A7-A142-B110AE038B41}" dt="2023-02-15T12:40:33.649" v="760" actId="20577"/>
          <ac:spMkLst>
            <pc:docMk/>
            <pc:sldMk cId="1000952093" sldId="1119"/>
            <ac:spMk id="16" creationId="{C0CCDECB-BD40-FA4B-B3E1-A0DD82F50761}"/>
          </ac:spMkLst>
        </pc:spChg>
      </pc:sldChg>
      <pc:sldChg chg="modSp mod">
        <pc:chgData name="Klaudia Gnyla" userId="7fd7bc4b-04b7-46f5-adb4-8d479a07b147" providerId="ADAL" clId="{A19D0BC1-E35A-42A7-A142-B110AE038B41}" dt="2023-02-08T12:44:19.739" v="225" actId="1076"/>
        <pc:sldMkLst>
          <pc:docMk/>
          <pc:sldMk cId="851914168" sldId="1124"/>
        </pc:sldMkLst>
        <pc:spChg chg="mod">
          <ac:chgData name="Klaudia Gnyla" userId="7fd7bc4b-04b7-46f5-adb4-8d479a07b147" providerId="ADAL" clId="{A19D0BC1-E35A-42A7-A142-B110AE038B41}" dt="2023-02-08T12:44:12.203" v="223" actId="1036"/>
          <ac:spMkLst>
            <pc:docMk/>
            <pc:sldMk cId="851914168" sldId="1124"/>
            <ac:spMk id="23" creationId="{65F442DE-678F-1146-D1FF-6E1E57EB04D1}"/>
          </ac:spMkLst>
        </pc:spChg>
        <pc:spChg chg="mod">
          <ac:chgData name="Klaudia Gnyla" userId="7fd7bc4b-04b7-46f5-adb4-8d479a07b147" providerId="ADAL" clId="{A19D0BC1-E35A-42A7-A142-B110AE038B41}" dt="2023-02-08T12:44:19.739" v="225" actId="1076"/>
          <ac:spMkLst>
            <pc:docMk/>
            <pc:sldMk cId="851914168" sldId="1124"/>
            <ac:spMk id="30" creationId="{3FF95B4E-BF07-322E-8710-35CD265E86BB}"/>
          </ac:spMkLst>
        </pc:spChg>
        <pc:cxnChg chg="mod">
          <ac:chgData name="Klaudia Gnyla" userId="7fd7bc4b-04b7-46f5-adb4-8d479a07b147" providerId="ADAL" clId="{A19D0BC1-E35A-42A7-A142-B110AE038B41}" dt="2023-02-08T12:44:18.498" v="224" actId="14100"/>
          <ac:cxnSpMkLst>
            <pc:docMk/>
            <pc:sldMk cId="851914168" sldId="1124"/>
            <ac:cxnSpMk id="5" creationId="{1D7B4B56-2458-ECFE-498A-506C19FB6296}"/>
          </ac:cxnSpMkLst>
        </pc:cxnChg>
      </pc:sldChg>
      <pc:sldChg chg="modSp mod">
        <pc:chgData name="Klaudia Gnyla" userId="7fd7bc4b-04b7-46f5-adb4-8d479a07b147" providerId="ADAL" clId="{A19D0BC1-E35A-42A7-A142-B110AE038B41}" dt="2023-02-10T09:34:29.637" v="606" actId="20577"/>
        <pc:sldMkLst>
          <pc:docMk/>
          <pc:sldMk cId="1184138871" sldId="1130"/>
        </pc:sldMkLst>
        <pc:spChg chg="mod">
          <ac:chgData name="Klaudia Gnyla" userId="7fd7bc4b-04b7-46f5-adb4-8d479a07b147" providerId="ADAL" clId="{A19D0BC1-E35A-42A7-A142-B110AE038B41}" dt="2023-02-10T09:34:29.637" v="606" actId="20577"/>
          <ac:spMkLst>
            <pc:docMk/>
            <pc:sldMk cId="1184138871" sldId="1130"/>
            <ac:spMk id="5" creationId="{99BE06D7-B43C-C3EE-AFE9-CC30816B978F}"/>
          </ac:spMkLst>
        </pc:spChg>
      </pc:sldChg>
      <pc:sldChg chg="modSp mod">
        <pc:chgData name="Klaudia Gnyla" userId="7fd7bc4b-04b7-46f5-adb4-8d479a07b147" providerId="ADAL" clId="{A19D0BC1-E35A-42A7-A142-B110AE038B41}" dt="2023-02-10T09:57:03.311" v="757" actId="1076"/>
        <pc:sldMkLst>
          <pc:docMk/>
          <pc:sldMk cId="2476394828" sldId="1131"/>
        </pc:sldMkLst>
        <pc:spChg chg="mod">
          <ac:chgData name="Klaudia Gnyla" userId="7fd7bc4b-04b7-46f5-adb4-8d479a07b147" providerId="ADAL" clId="{A19D0BC1-E35A-42A7-A142-B110AE038B41}" dt="2023-02-10T09:57:03.311" v="757" actId="1076"/>
          <ac:spMkLst>
            <pc:docMk/>
            <pc:sldMk cId="2476394828" sldId="1131"/>
            <ac:spMk id="10" creationId="{FBBF313C-63E5-69B7-8237-7A023460108C}"/>
          </ac:spMkLst>
        </pc:spChg>
        <pc:spChg chg="mod">
          <ac:chgData name="Klaudia Gnyla" userId="7fd7bc4b-04b7-46f5-adb4-8d479a07b147" providerId="ADAL" clId="{A19D0BC1-E35A-42A7-A142-B110AE038B41}" dt="2023-02-10T09:56:51.112" v="754" actId="1076"/>
          <ac:spMkLst>
            <pc:docMk/>
            <pc:sldMk cId="2476394828" sldId="1131"/>
            <ac:spMk id="13" creationId="{A31F89D5-0F47-FC1A-DE09-14B7B498B2DC}"/>
          </ac:spMkLst>
        </pc:spChg>
        <pc:spChg chg="mod">
          <ac:chgData name="Klaudia Gnyla" userId="7fd7bc4b-04b7-46f5-adb4-8d479a07b147" providerId="ADAL" clId="{A19D0BC1-E35A-42A7-A142-B110AE038B41}" dt="2023-02-10T09:56:39.670" v="752" actId="1037"/>
          <ac:spMkLst>
            <pc:docMk/>
            <pc:sldMk cId="2476394828" sldId="1131"/>
            <ac:spMk id="18" creationId="{E678476F-3E14-3093-D6A6-AFD00D8F45FE}"/>
          </ac:spMkLst>
        </pc:spChg>
        <pc:spChg chg="mod">
          <ac:chgData name="Klaudia Gnyla" userId="7fd7bc4b-04b7-46f5-adb4-8d479a07b147" providerId="ADAL" clId="{A19D0BC1-E35A-42A7-A142-B110AE038B41}" dt="2023-02-10T09:56:55.743" v="755" actId="1076"/>
          <ac:spMkLst>
            <pc:docMk/>
            <pc:sldMk cId="2476394828" sldId="1131"/>
            <ac:spMk id="19" creationId="{265DC409-2AA1-D623-985E-58BE41549588}"/>
          </ac:spMkLst>
        </pc:spChg>
      </pc:sldChg>
      <pc:sldChg chg="modSp mod">
        <pc:chgData name="Klaudia Gnyla" userId="7fd7bc4b-04b7-46f5-adb4-8d479a07b147" providerId="ADAL" clId="{A19D0BC1-E35A-42A7-A142-B110AE038B41}" dt="2023-02-08T12:50:45.426" v="258" actId="20577"/>
        <pc:sldMkLst>
          <pc:docMk/>
          <pc:sldMk cId="2814064962" sldId="1133"/>
        </pc:sldMkLst>
        <pc:spChg chg="mod">
          <ac:chgData name="Klaudia Gnyla" userId="7fd7bc4b-04b7-46f5-adb4-8d479a07b147" providerId="ADAL" clId="{A19D0BC1-E35A-42A7-A142-B110AE038B41}" dt="2023-02-08T12:41:00.298" v="20" actId="207"/>
          <ac:spMkLst>
            <pc:docMk/>
            <pc:sldMk cId="2814064962" sldId="1133"/>
            <ac:spMk id="4" creationId="{5945D143-297A-4E28-6780-B7F03998C4EF}"/>
          </ac:spMkLst>
        </pc:spChg>
        <pc:spChg chg="mod">
          <ac:chgData name="Klaudia Gnyla" userId="7fd7bc4b-04b7-46f5-adb4-8d479a07b147" providerId="ADAL" clId="{A19D0BC1-E35A-42A7-A142-B110AE038B41}" dt="2023-02-08T12:42:39.732" v="128" actId="14100"/>
          <ac:spMkLst>
            <pc:docMk/>
            <pc:sldMk cId="2814064962" sldId="1133"/>
            <ac:spMk id="9" creationId="{9DB182D2-698D-4AEE-F08A-6B75127F2FD1}"/>
          </ac:spMkLst>
        </pc:spChg>
        <pc:spChg chg="mod">
          <ac:chgData name="Klaudia Gnyla" userId="7fd7bc4b-04b7-46f5-adb4-8d479a07b147" providerId="ADAL" clId="{A19D0BC1-E35A-42A7-A142-B110AE038B41}" dt="2023-02-08T12:42:51.605" v="131" actId="20577"/>
          <ac:spMkLst>
            <pc:docMk/>
            <pc:sldMk cId="2814064962" sldId="1133"/>
            <ac:spMk id="10" creationId="{5C64B4A6-96E3-88A6-700A-624658FD734C}"/>
          </ac:spMkLst>
        </pc:spChg>
        <pc:spChg chg="mod">
          <ac:chgData name="Klaudia Gnyla" userId="7fd7bc4b-04b7-46f5-adb4-8d479a07b147" providerId="ADAL" clId="{A19D0BC1-E35A-42A7-A142-B110AE038B41}" dt="2023-02-08T12:50:45.426" v="258" actId="20577"/>
          <ac:spMkLst>
            <pc:docMk/>
            <pc:sldMk cId="2814064962" sldId="1133"/>
            <ac:spMk id="11" creationId="{CD70660D-9A01-8723-3046-CFB532454A11}"/>
          </ac:spMkLst>
        </pc:spChg>
        <pc:spChg chg="mod">
          <ac:chgData name="Klaudia Gnyla" userId="7fd7bc4b-04b7-46f5-adb4-8d479a07b147" providerId="ADAL" clId="{A19D0BC1-E35A-42A7-A142-B110AE038B41}" dt="2023-02-08T12:43:55.603" v="214" actId="1076"/>
          <ac:spMkLst>
            <pc:docMk/>
            <pc:sldMk cId="2814064962" sldId="1133"/>
            <ac:spMk id="12" creationId="{833EDFA6-FF7A-EC33-F858-07A57474FCC5}"/>
          </ac:spMkLst>
        </pc:spChg>
        <pc:spChg chg="mod">
          <ac:chgData name="Klaudia Gnyla" userId="7fd7bc4b-04b7-46f5-adb4-8d479a07b147" providerId="ADAL" clId="{A19D0BC1-E35A-42A7-A142-B110AE038B41}" dt="2023-02-08T12:43:48.633" v="213" actId="1076"/>
          <ac:spMkLst>
            <pc:docMk/>
            <pc:sldMk cId="2814064962" sldId="1133"/>
            <ac:spMk id="13" creationId="{A5043344-79E8-33DA-A299-2B9F190A6E5E}"/>
          </ac:spMkLst>
        </pc:spChg>
      </pc:sldChg>
      <pc:sldChg chg="modSp mod">
        <pc:chgData name="Klaudia Gnyla" userId="7fd7bc4b-04b7-46f5-adb4-8d479a07b147" providerId="ADAL" clId="{A19D0BC1-E35A-42A7-A142-B110AE038B41}" dt="2023-02-15T12:59:14.938" v="766" actId="20577"/>
        <pc:sldMkLst>
          <pc:docMk/>
          <pc:sldMk cId="1476040436" sldId="1149"/>
        </pc:sldMkLst>
        <pc:spChg chg="mod">
          <ac:chgData name="Klaudia Gnyla" userId="7fd7bc4b-04b7-46f5-adb4-8d479a07b147" providerId="ADAL" clId="{A19D0BC1-E35A-42A7-A142-B110AE038B41}" dt="2023-02-15T12:59:14.938" v="766" actId="20577"/>
          <ac:spMkLst>
            <pc:docMk/>
            <pc:sldMk cId="1476040436" sldId="1149"/>
            <ac:spMk id="4" creationId="{88C16D41-55CD-2CE3-F3F6-8267B3A2996F}"/>
          </ac:spMkLst>
        </pc:spChg>
        <pc:spChg chg="mod">
          <ac:chgData name="Klaudia Gnyla" userId="7fd7bc4b-04b7-46f5-adb4-8d479a07b147" providerId="ADAL" clId="{A19D0BC1-E35A-42A7-A142-B110AE038B41}" dt="2023-02-09T16:08:46.613" v="495" actId="1076"/>
          <ac:spMkLst>
            <pc:docMk/>
            <pc:sldMk cId="1476040436" sldId="1149"/>
            <ac:spMk id="5" creationId="{8AE210C4-B42A-17EF-3A5D-72865DDA6935}"/>
          </ac:spMkLst>
        </pc:spChg>
        <pc:spChg chg="mod">
          <ac:chgData name="Klaudia Gnyla" userId="7fd7bc4b-04b7-46f5-adb4-8d479a07b147" providerId="ADAL" clId="{A19D0BC1-E35A-42A7-A142-B110AE038B41}" dt="2023-02-09T16:08:51.639" v="496" actId="1076"/>
          <ac:spMkLst>
            <pc:docMk/>
            <pc:sldMk cId="1476040436" sldId="1149"/>
            <ac:spMk id="9" creationId="{6CEF7FED-5D82-3B6F-0162-4F634D50D18A}"/>
          </ac:spMkLst>
        </pc:spChg>
      </pc:sldChg>
      <pc:sldChg chg="modSp mod">
        <pc:chgData name="Klaudia Gnyla" userId="7fd7bc4b-04b7-46f5-adb4-8d479a07b147" providerId="ADAL" clId="{A19D0BC1-E35A-42A7-A142-B110AE038B41}" dt="2023-02-09T16:04:11.268" v="303" actId="1076"/>
        <pc:sldMkLst>
          <pc:docMk/>
          <pc:sldMk cId="2833304210" sldId="1151"/>
        </pc:sldMkLst>
        <pc:spChg chg="mod">
          <ac:chgData name="Klaudia Gnyla" userId="7fd7bc4b-04b7-46f5-adb4-8d479a07b147" providerId="ADAL" clId="{A19D0BC1-E35A-42A7-A142-B110AE038B41}" dt="2023-02-09T16:04:11.268" v="303" actId="1076"/>
          <ac:spMkLst>
            <pc:docMk/>
            <pc:sldMk cId="2833304210" sldId="1151"/>
            <ac:spMk id="8" creationId="{AEE39F5A-F29B-C8A1-55F7-1D6416E5CDEA}"/>
          </ac:spMkLst>
        </pc:spChg>
      </pc:sldChg>
      <pc:sldChg chg="addSp delSp modSp mod">
        <pc:chgData name="Klaudia Gnyla" userId="7fd7bc4b-04b7-46f5-adb4-8d479a07b147" providerId="ADAL" clId="{A19D0BC1-E35A-42A7-A142-B110AE038B41}" dt="2023-02-15T13:17:31.357" v="784" actId="1036"/>
        <pc:sldMkLst>
          <pc:docMk/>
          <pc:sldMk cId="2782971473" sldId="1152"/>
        </pc:sldMkLst>
        <pc:spChg chg="add del mod">
          <ac:chgData name="Klaudia Gnyla" userId="7fd7bc4b-04b7-46f5-adb4-8d479a07b147" providerId="ADAL" clId="{A19D0BC1-E35A-42A7-A142-B110AE038B41}" dt="2023-02-10T09:50:15.757" v="696" actId="478"/>
          <ac:spMkLst>
            <pc:docMk/>
            <pc:sldMk cId="2782971473" sldId="1152"/>
            <ac:spMk id="2" creationId="{17C80D25-1455-C233-1462-2588A1C7A7E6}"/>
          </ac:spMkLst>
        </pc:spChg>
        <pc:spChg chg="mod">
          <ac:chgData name="Klaudia Gnyla" userId="7fd7bc4b-04b7-46f5-adb4-8d479a07b147" providerId="ADAL" clId="{A19D0BC1-E35A-42A7-A142-B110AE038B41}" dt="2023-02-15T13:17:27.842" v="781" actId="1036"/>
          <ac:spMkLst>
            <pc:docMk/>
            <pc:sldMk cId="2782971473" sldId="1152"/>
            <ac:spMk id="4" creationId="{0E087400-E709-A9CB-7BA5-0686C73DCE05}"/>
          </ac:spMkLst>
        </pc:spChg>
        <pc:spChg chg="mod">
          <ac:chgData name="Klaudia Gnyla" userId="7fd7bc4b-04b7-46f5-adb4-8d479a07b147" providerId="ADAL" clId="{A19D0BC1-E35A-42A7-A142-B110AE038B41}" dt="2023-02-15T13:17:07.124" v="767" actId="255"/>
          <ac:spMkLst>
            <pc:docMk/>
            <pc:sldMk cId="2782971473" sldId="1152"/>
            <ac:spMk id="12" creationId="{8DC1C033-75E9-1D04-F182-001F98285C4C}"/>
          </ac:spMkLst>
        </pc:spChg>
        <pc:spChg chg="mod">
          <ac:chgData name="Klaudia Gnyla" userId="7fd7bc4b-04b7-46f5-adb4-8d479a07b147" providerId="ADAL" clId="{A19D0BC1-E35A-42A7-A142-B110AE038B41}" dt="2023-02-15T13:17:18.613" v="777" actId="1036"/>
          <ac:spMkLst>
            <pc:docMk/>
            <pc:sldMk cId="2782971473" sldId="1152"/>
            <ac:spMk id="16" creationId="{F884701D-03FE-3E19-224F-FF8ED4456B2E}"/>
          </ac:spMkLst>
        </pc:spChg>
        <pc:spChg chg="mod">
          <ac:chgData name="Klaudia Gnyla" userId="7fd7bc4b-04b7-46f5-adb4-8d479a07b147" providerId="ADAL" clId="{A19D0BC1-E35A-42A7-A142-B110AE038B41}" dt="2023-02-15T13:17:31.357" v="784" actId="1036"/>
          <ac:spMkLst>
            <pc:docMk/>
            <pc:sldMk cId="2782971473" sldId="1152"/>
            <ac:spMk id="19" creationId="{5FC8574D-A6E1-5AE5-F0EF-4ACA955F22DB}"/>
          </ac:spMkLst>
        </pc:spChg>
        <pc:picChg chg="mod">
          <ac:chgData name="Klaudia Gnyla" userId="7fd7bc4b-04b7-46f5-adb4-8d479a07b147" providerId="ADAL" clId="{A19D0BC1-E35A-42A7-A142-B110AE038B41}" dt="2023-02-15T13:17:21.458" v="780" actId="1036"/>
          <ac:picMkLst>
            <pc:docMk/>
            <pc:sldMk cId="2782971473" sldId="1152"/>
            <ac:picMk id="18" creationId="{09630E64-779F-830E-BE78-DFDE35095B8F}"/>
          </ac:picMkLst>
        </pc:picChg>
      </pc:sldChg>
    </pc:docChg>
  </pc:docChgLst>
  <pc:docChgLst>
    <pc:chgData name="Silviu Apostu" userId="7d54ca87-cfcd-43be-815b-996ee07356f5" providerId="ADAL" clId="{A07BA135-0626-A944-9402-10CBBF54F515}"/>
    <pc:docChg chg="undo custSel modSld">
      <pc:chgData name="Silviu Apostu" userId="7d54ca87-cfcd-43be-815b-996ee07356f5" providerId="ADAL" clId="{A07BA135-0626-A944-9402-10CBBF54F515}" dt="2022-12-08T20:29:52.312" v="17"/>
      <pc:docMkLst>
        <pc:docMk/>
      </pc:docMkLst>
      <pc:sldChg chg="addCm">
        <pc:chgData name="Silviu Apostu" userId="7d54ca87-cfcd-43be-815b-996ee07356f5" providerId="ADAL" clId="{A07BA135-0626-A944-9402-10CBBF54F515}" dt="2022-12-08T20:10:52.469" v="0"/>
        <pc:sldMkLst>
          <pc:docMk/>
          <pc:sldMk cId="3346723286" sldId="1121"/>
        </pc:sldMkLst>
      </pc:sldChg>
      <pc:sldChg chg="modSp mod addCm">
        <pc:chgData name="Silviu Apostu" userId="7d54ca87-cfcd-43be-815b-996ee07356f5" providerId="ADAL" clId="{A07BA135-0626-A944-9402-10CBBF54F515}" dt="2022-12-08T20:13:30.750" v="4"/>
        <pc:sldMkLst>
          <pc:docMk/>
          <pc:sldMk cId="896561430" sldId="1122"/>
        </pc:sldMkLst>
        <pc:spChg chg="mod">
          <ac:chgData name="Silviu Apostu" userId="7d54ca87-cfcd-43be-815b-996ee07356f5" providerId="ADAL" clId="{A07BA135-0626-A944-9402-10CBBF54F515}" dt="2022-12-08T20:11:29.509" v="2" actId="1076"/>
          <ac:spMkLst>
            <pc:docMk/>
            <pc:sldMk cId="896561430" sldId="1122"/>
            <ac:spMk id="14" creationId="{B46FD43B-95E8-0344-9485-DDBB6B61963C}"/>
          </ac:spMkLst>
        </pc:spChg>
      </pc:sldChg>
      <pc:sldChg chg="addCm">
        <pc:chgData name="Silviu Apostu" userId="7d54ca87-cfcd-43be-815b-996ee07356f5" providerId="ADAL" clId="{A07BA135-0626-A944-9402-10CBBF54F515}" dt="2022-12-08T20:15:55.419" v="6"/>
        <pc:sldMkLst>
          <pc:docMk/>
          <pc:sldMk cId="94774288" sldId="1123"/>
        </pc:sldMkLst>
      </pc:sldChg>
      <pc:sldChg chg="addCm">
        <pc:chgData name="Silviu Apostu" userId="7d54ca87-cfcd-43be-815b-996ee07356f5" providerId="ADAL" clId="{A07BA135-0626-A944-9402-10CBBF54F515}" dt="2022-12-08T20:19:32.980" v="8"/>
        <pc:sldMkLst>
          <pc:docMk/>
          <pc:sldMk cId="851914168" sldId="1124"/>
        </pc:sldMkLst>
      </pc:sldChg>
      <pc:sldChg chg="addCm">
        <pc:chgData name="Silviu Apostu" userId="7d54ca87-cfcd-43be-815b-996ee07356f5" providerId="ADAL" clId="{A07BA135-0626-A944-9402-10CBBF54F515}" dt="2022-12-08T20:17:50.534" v="7"/>
        <pc:sldMkLst>
          <pc:docMk/>
          <pc:sldMk cId="795165187" sldId="1125"/>
        </pc:sldMkLst>
      </pc:sldChg>
      <pc:sldChg chg="addCm">
        <pc:chgData name="Silviu Apostu" userId="7d54ca87-cfcd-43be-815b-996ee07356f5" providerId="ADAL" clId="{A07BA135-0626-A944-9402-10CBBF54F515}" dt="2022-12-08T20:21:23.155" v="9"/>
        <pc:sldMkLst>
          <pc:docMk/>
          <pc:sldMk cId="3967583555" sldId="1127"/>
        </pc:sldMkLst>
      </pc:sldChg>
      <pc:sldChg chg="addCm">
        <pc:chgData name="Silviu Apostu" userId="7d54ca87-cfcd-43be-815b-996ee07356f5" providerId="ADAL" clId="{A07BA135-0626-A944-9402-10CBBF54F515}" dt="2022-12-08T20:21:47.532" v="10"/>
        <pc:sldMkLst>
          <pc:docMk/>
          <pc:sldMk cId="3578681514" sldId="1128"/>
        </pc:sldMkLst>
      </pc:sldChg>
      <pc:sldChg chg="addCm">
        <pc:chgData name="Silviu Apostu" userId="7d54ca87-cfcd-43be-815b-996ee07356f5" providerId="ADAL" clId="{A07BA135-0626-A944-9402-10CBBF54F515}" dt="2022-12-08T20:22:23.828" v="11"/>
        <pc:sldMkLst>
          <pc:docMk/>
          <pc:sldMk cId="530088360" sldId="1129"/>
        </pc:sldMkLst>
      </pc:sldChg>
      <pc:sldChg chg="addCm">
        <pc:chgData name="Silviu Apostu" userId="7d54ca87-cfcd-43be-815b-996ee07356f5" providerId="ADAL" clId="{A07BA135-0626-A944-9402-10CBBF54F515}" dt="2022-12-08T20:25:01.390" v="13"/>
        <pc:sldMkLst>
          <pc:docMk/>
          <pc:sldMk cId="1184138871" sldId="1130"/>
        </pc:sldMkLst>
      </pc:sldChg>
      <pc:sldChg chg="addCm">
        <pc:chgData name="Silviu Apostu" userId="7d54ca87-cfcd-43be-815b-996ee07356f5" providerId="ADAL" clId="{A07BA135-0626-A944-9402-10CBBF54F515}" dt="2022-12-08T20:28:17.671" v="16"/>
        <pc:sldMkLst>
          <pc:docMk/>
          <pc:sldMk cId="959709447" sldId="1134"/>
        </pc:sldMkLst>
      </pc:sldChg>
      <pc:sldChg chg="addCm">
        <pc:chgData name="Silviu Apostu" userId="7d54ca87-cfcd-43be-815b-996ee07356f5" providerId="ADAL" clId="{A07BA135-0626-A944-9402-10CBBF54F515}" dt="2022-12-08T20:29:52.312" v="17"/>
        <pc:sldMkLst>
          <pc:docMk/>
          <pc:sldMk cId="2860843554" sldId="1135"/>
        </pc:sldMkLst>
      </pc:sldChg>
      <pc:sldChg chg="addCm">
        <pc:chgData name="Silviu Apostu" userId="7d54ca87-cfcd-43be-815b-996ee07356f5" providerId="ADAL" clId="{A07BA135-0626-A944-9402-10CBBF54F515}" dt="2022-12-08T20:26:23.607" v="14"/>
        <pc:sldMkLst>
          <pc:docMk/>
          <pc:sldMk cId="3066080815" sldId="1145"/>
        </pc:sldMkLst>
      </pc:sldChg>
      <pc:sldChg chg="addCm">
        <pc:chgData name="Silviu Apostu" userId="7d54ca87-cfcd-43be-815b-996ee07356f5" providerId="ADAL" clId="{A07BA135-0626-A944-9402-10CBBF54F515}" dt="2022-12-08T20:26:39.337" v="15"/>
        <pc:sldMkLst>
          <pc:docMk/>
          <pc:sldMk cId="1723101856" sldId="1146"/>
        </pc:sldMkLst>
      </pc:sldChg>
    </pc:docChg>
  </pc:docChgLst>
  <pc:docChgLst>
    <pc:chgData name="Klaudia Gnyla" userId="7fd7bc4b-04b7-46f5-adb4-8d479a07b147" providerId="ADAL" clId="{34B4283B-E526-480A-9AB1-868AB2261910}"/>
    <pc:docChg chg="undo redo custSel addSld delSld modSld sldOrd modMainMaster">
      <pc:chgData name="Klaudia Gnyla" userId="7fd7bc4b-04b7-46f5-adb4-8d479a07b147" providerId="ADAL" clId="{34B4283B-E526-480A-9AB1-868AB2261910}" dt="2023-01-19T13:48:11.980" v="20332" actId="1036"/>
      <pc:docMkLst>
        <pc:docMk/>
      </pc:docMkLst>
      <pc:sldChg chg="del">
        <pc:chgData name="Klaudia Gnyla" userId="7fd7bc4b-04b7-46f5-adb4-8d479a07b147" providerId="ADAL" clId="{34B4283B-E526-480A-9AB1-868AB2261910}" dt="2022-12-05T13:24:01.283" v="103" actId="2696"/>
        <pc:sldMkLst>
          <pc:docMk/>
          <pc:sldMk cId="3086041054" sldId="1098"/>
        </pc:sldMkLst>
      </pc:sldChg>
      <pc:sldChg chg="addSp delSp modSp mod">
        <pc:chgData name="Klaudia Gnyla" userId="7fd7bc4b-04b7-46f5-adb4-8d479a07b147" providerId="ADAL" clId="{34B4283B-E526-480A-9AB1-868AB2261910}" dt="2023-01-18T15:18:06.364" v="18093" actId="1038"/>
        <pc:sldMkLst>
          <pc:docMk/>
          <pc:sldMk cId="1000952093" sldId="1119"/>
        </pc:sldMkLst>
        <pc:spChg chg="del mod ord">
          <ac:chgData name="Klaudia Gnyla" userId="7fd7bc4b-04b7-46f5-adb4-8d479a07b147" providerId="ADAL" clId="{34B4283B-E526-480A-9AB1-868AB2261910}" dt="2022-12-05T13:29:04.814" v="275" actId="478"/>
          <ac:spMkLst>
            <pc:docMk/>
            <pc:sldMk cId="1000952093" sldId="1119"/>
            <ac:spMk id="2" creationId="{C868AFFD-2E67-654F-8768-CA1F510AD568}"/>
          </ac:spMkLst>
        </pc:spChg>
        <pc:spChg chg="mod ord">
          <ac:chgData name="Klaudia Gnyla" userId="7fd7bc4b-04b7-46f5-adb4-8d479a07b147" providerId="ADAL" clId="{34B4283B-E526-480A-9AB1-868AB2261910}" dt="2022-12-05T13:30:55.419" v="297" actId="1076"/>
          <ac:spMkLst>
            <pc:docMk/>
            <pc:sldMk cId="1000952093" sldId="1119"/>
            <ac:spMk id="3" creationId="{31319EAF-3FB4-574C-937D-77AEB459496F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11" creationId="{25E4CB83-F014-5274-2A51-F1C76A7A9242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12" creationId="{E6B2BA42-5FDC-165A-C476-AF20433DE0EF}"/>
          </ac:spMkLst>
        </pc:spChg>
        <pc:spChg chg="del mod ord">
          <ac:chgData name="Klaudia Gnyla" userId="7fd7bc4b-04b7-46f5-adb4-8d479a07b147" providerId="ADAL" clId="{34B4283B-E526-480A-9AB1-868AB2261910}" dt="2022-12-05T13:23:44.582" v="100" actId="478"/>
          <ac:spMkLst>
            <pc:docMk/>
            <pc:sldMk cId="1000952093" sldId="1119"/>
            <ac:spMk id="13" creationId="{3D3542DE-9DEF-6145-8D53-3B06239EFA92}"/>
          </ac:spMkLst>
        </pc:spChg>
        <pc:spChg chg="add del mod">
          <ac:chgData name="Klaudia Gnyla" userId="7fd7bc4b-04b7-46f5-adb4-8d479a07b147" providerId="ADAL" clId="{34B4283B-E526-480A-9AB1-868AB2261910}" dt="2023-01-18T15:18:06.364" v="18093" actId="1038"/>
          <ac:spMkLst>
            <pc:docMk/>
            <pc:sldMk cId="1000952093" sldId="1119"/>
            <ac:spMk id="14" creationId="{B46FD43B-95E8-0344-9485-DDBB6B61963C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15" creationId="{98A2D691-6B67-A9C2-5756-2BDEAA7C5726}"/>
          </ac:spMkLst>
        </pc:spChg>
        <pc:spChg chg="mod ord">
          <ac:chgData name="Klaudia Gnyla" userId="7fd7bc4b-04b7-46f5-adb4-8d479a07b147" providerId="ADAL" clId="{34B4283B-E526-480A-9AB1-868AB2261910}" dt="2023-01-11T12:12:15.516" v="12735" actId="20577"/>
          <ac:spMkLst>
            <pc:docMk/>
            <pc:sldMk cId="1000952093" sldId="1119"/>
            <ac:spMk id="16" creationId="{C0CCDECB-BD40-FA4B-B3E1-A0DD82F50761}"/>
          </ac:spMkLst>
        </pc:spChg>
        <pc:spChg chg="del">
          <ac:chgData name="Klaudia Gnyla" userId="7fd7bc4b-04b7-46f5-adb4-8d479a07b147" providerId="ADAL" clId="{34B4283B-E526-480A-9AB1-868AB2261910}" dt="2023-01-10T15:22:45.137" v="12444" actId="478"/>
          <ac:spMkLst>
            <pc:docMk/>
            <pc:sldMk cId="1000952093" sldId="1119"/>
            <ac:spMk id="17" creationId="{9C5CC100-5475-B342-8B5C-69415A5772B8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18" creationId="{99096008-05B2-E61F-21ED-3289877F2908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19" creationId="{C3F6797C-B096-EAE5-2463-47DBE87DD825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0" creationId="{FFD8B208-E032-4E65-B276-12F4A71FD4D2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1" creationId="{76C00938-94E9-8A43-D108-35B23A6B6A54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2" creationId="{AAD1DF43-EB01-9111-DE5B-AC463446AD45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3" creationId="{83F7E1E2-8E18-3AE2-D3B1-1FBD1B934FEC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4" creationId="{B582705F-84D8-C694-2E15-3028FE4A0B1B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5" creationId="{C04B7FB6-6F5E-91E4-E126-0285147E0A2F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6" creationId="{56CF1B32-EEA4-DFBE-BC64-71FC82E5334F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7" creationId="{9C3BDB0F-943C-761B-0807-55CF11853BD0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8" creationId="{63F12331-A671-AAA0-0A83-10714D69E722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29" creationId="{28FAA0B0-B27A-9B93-FEF4-46304D5B20E5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30" creationId="{908B6D54-F36E-28A9-4271-6A39842F6F9B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31" creationId="{E6AF28FE-2EC1-B6BA-8EB7-C2109E5FE354}"/>
          </ac:spMkLst>
        </pc:spChg>
        <pc:spChg chg="mod">
          <ac:chgData name="Klaudia Gnyla" userId="7fd7bc4b-04b7-46f5-adb4-8d479a07b147" providerId="ADAL" clId="{34B4283B-E526-480A-9AB1-868AB2261910}" dt="2022-12-05T13:28:51.827" v="271"/>
          <ac:spMkLst>
            <pc:docMk/>
            <pc:sldMk cId="1000952093" sldId="1119"/>
            <ac:spMk id="32" creationId="{B0F6C791-CADC-14A9-4533-F1159606335D}"/>
          </ac:spMkLst>
        </pc:spChg>
        <pc:spChg chg="add del mod">
          <ac:chgData name="Klaudia Gnyla" userId="7fd7bc4b-04b7-46f5-adb4-8d479a07b147" providerId="ADAL" clId="{34B4283B-E526-480A-9AB1-868AB2261910}" dt="2022-12-05T13:29:14.992" v="278" actId="21"/>
          <ac:spMkLst>
            <pc:docMk/>
            <pc:sldMk cId="1000952093" sldId="1119"/>
            <ac:spMk id="34" creationId="{5EFC41DD-A2B1-0556-2376-BB9E6D47B9E6}"/>
          </ac:spMkLst>
        </pc:spChg>
        <pc:grpChg chg="add mod">
          <ac:chgData name="Klaudia Gnyla" userId="7fd7bc4b-04b7-46f5-adb4-8d479a07b147" providerId="ADAL" clId="{34B4283B-E526-480A-9AB1-868AB2261910}" dt="2022-12-05T13:29:47.613" v="285" actId="1076"/>
          <ac:grpSpMkLst>
            <pc:docMk/>
            <pc:sldMk cId="1000952093" sldId="1119"/>
            <ac:grpSpMk id="7" creationId="{BD32BA67-95E2-44F8-8123-4AE8FC0F7851}"/>
          </ac:grpSpMkLst>
        </pc:grpChg>
        <pc:grpChg chg="mod">
          <ac:chgData name="Klaudia Gnyla" userId="7fd7bc4b-04b7-46f5-adb4-8d479a07b147" providerId="ADAL" clId="{34B4283B-E526-480A-9AB1-868AB2261910}" dt="2022-12-05T13:28:51.827" v="271"/>
          <ac:grpSpMkLst>
            <pc:docMk/>
            <pc:sldMk cId="1000952093" sldId="1119"/>
            <ac:grpSpMk id="9" creationId="{C2B85382-B271-BBFC-54AE-1217F85D65AF}"/>
          </ac:grpSpMkLst>
        </pc:grpChg>
        <pc:grpChg chg="mod">
          <ac:chgData name="Klaudia Gnyla" userId="7fd7bc4b-04b7-46f5-adb4-8d479a07b147" providerId="ADAL" clId="{34B4283B-E526-480A-9AB1-868AB2261910}" dt="2022-12-05T13:28:51.827" v="271"/>
          <ac:grpSpMkLst>
            <pc:docMk/>
            <pc:sldMk cId="1000952093" sldId="1119"/>
            <ac:grpSpMk id="10" creationId="{91568006-90A8-8E6C-06E3-B44FDC94BE22}"/>
          </ac:grpSpMkLst>
        </pc:grpChg>
        <pc:picChg chg="add del mod">
          <ac:chgData name="Klaudia Gnyla" userId="7fd7bc4b-04b7-46f5-adb4-8d479a07b147" providerId="ADAL" clId="{34B4283B-E526-480A-9AB1-868AB2261910}" dt="2022-12-05T13:23:45.614" v="101" actId="478"/>
          <ac:picMkLst>
            <pc:docMk/>
            <pc:sldMk cId="1000952093" sldId="1119"/>
            <ac:picMk id="4" creationId="{BEAF8D68-CA48-7B6C-75A9-E57DB546D158}"/>
          </ac:picMkLst>
        </pc:picChg>
        <pc:picChg chg="add mod">
          <ac:chgData name="Klaudia Gnyla" userId="7fd7bc4b-04b7-46f5-adb4-8d479a07b147" providerId="ADAL" clId="{34B4283B-E526-480A-9AB1-868AB2261910}" dt="2023-01-13T13:40:10.637" v="13524" actId="1038"/>
          <ac:picMkLst>
            <pc:docMk/>
            <pc:sldMk cId="1000952093" sldId="1119"/>
            <ac:picMk id="5" creationId="{0F3DBB78-3815-FD12-88A2-A08E9B8C20D2}"/>
          </ac:picMkLst>
        </pc:picChg>
        <pc:picChg chg="add del mod">
          <ac:chgData name="Klaudia Gnyla" userId="7fd7bc4b-04b7-46f5-adb4-8d479a07b147" providerId="ADAL" clId="{34B4283B-E526-480A-9AB1-868AB2261910}" dt="2022-12-05T13:28:36.288" v="270"/>
          <ac:picMkLst>
            <pc:docMk/>
            <pc:sldMk cId="1000952093" sldId="1119"/>
            <ac:picMk id="6" creationId="{D0C1387B-5137-762E-DFF0-A5A9E72C76EC}"/>
          </ac:picMkLst>
        </pc:picChg>
        <pc:picChg chg="add del">
          <ac:chgData name="Klaudia Gnyla" userId="7fd7bc4b-04b7-46f5-adb4-8d479a07b147" providerId="ADAL" clId="{34B4283B-E526-480A-9AB1-868AB2261910}" dt="2022-12-05T13:22:22.282" v="83" actId="478"/>
          <ac:picMkLst>
            <pc:docMk/>
            <pc:sldMk cId="1000952093" sldId="1119"/>
            <ac:picMk id="8" creationId="{2118E758-E75A-33B8-707B-8D85D4CBAFBE}"/>
          </ac:picMkLst>
        </pc:picChg>
      </pc:sldChg>
      <pc:sldChg chg="addSp delSp modSp add mod">
        <pc:chgData name="Klaudia Gnyla" userId="7fd7bc4b-04b7-46f5-adb4-8d479a07b147" providerId="ADAL" clId="{34B4283B-E526-480A-9AB1-868AB2261910}" dt="2023-01-19T13:25:22.098" v="20218"/>
        <pc:sldMkLst>
          <pc:docMk/>
          <pc:sldMk cId="2008748543" sldId="1120"/>
        </pc:sldMkLst>
        <pc:spChg chg="add del mod">
          <ac:chgData name="Klaudia Gnyla" userId="7fd7bc4b-04b7-46f5-adb4-8d479a07b147" providerId="ADAL" clId="{34B4283B-E526-480A-9AB1-868AB2261910}" dt="2022-12-06T13:42:43.670" v="4704" actId="478"/>
          <ac:spMkLst>
            <pc:docMk/>
            <pc:sldMk cId="2008748543" sldId="1120"/>
            <ac:spMk id="2" creationId="{A2A1AE8B-4FCA-C312-80BE-2B25B9A298D4}"/>
          </ac:spMkLst>
        </pc:spChg>
        <pc:spChg chg="add del mod">
          <ac:chgData name="Klaudia Gnyla" userId="7fd7bc4b-04b7-46f5-adb4-8d479a07b147" providerId="ADAL" clId="{34B4283B-E526-480A-9AB1-868AB2261910}" dt="2023-01-19T13:25:21.448" v="20217" actId="478"/>
          <ac:spMkLst>
            <pc:docMk/>
            <pc:sldMk cId="2008748543" sldId="1120"/>
            <ac:spMk id="2" creationId="{B3BDE80D-7A07-09F9-E96F-C60146F19249}"/>
          </ac:spMkLst>
        </pc:spChg>
        <pc:spChg chg="del">
          <ac:chgData name="Klaudia Gnyla" userId="7fd7bc4b-04b7-46f5-adb4-8d479a07b147" providerId="ADAL" clId="{34B4283B-E526-480A-9AB1-868AB2261910}" dt="2022-12-05T13:25:15.484" v="234" actId="478"/>
          <ac:spMkLst>
            <pc:docMk/>
            <pc:sldMk cId="2008748543" sldId="1120"/>
            <ac:spMk id="2" creationId="{C868AFFD-2E67-654F-8768-CA1F510AD568}"/>
          </ac:spMkLst>
        </pc:spChg>
        <pc:spChg chg="del">
          <ac:chgData name="Klaudia Gnyla" userId="7fd7bc4b-04b7-46f5-adb4-8d479a07b147" providerId="ADAL" clId="{34B4283B-E526-480A-9AB1-868AB2261910}" dt="2022-12-05T13:25:20.259" v="237" actId="478"/>
          <ac:spMkLst>
            <pc:docMk/>
            <pc:sldMk cId="2008748543" sldId="1120"/>
            <ac:spMk id="3" creationId="{31319EAF-3FB4-574C-937D-77AEB459496F}"/>
          </ac:spMkLst>
        </pc:spChg>
        <pc:spChg chg="add mod">
          <ac:chgData name="Klaudia Gnyla" userId="7fd7bc4b-04b7-46f5-adb4-8d479a07b147" providerId="ADAL" clId="{34B4283B-E526-480A-9AB1-868AB2261910}" dt="2023-01-19T13:25:22.098" v="20218"/>
          <ac:spMkLst>
            <pc:docMk/>
            <pc:sldMk cId="2008748543" sldId="1120"/>
            <ac:spMk id="3" creationId="{6C2FAFEB-6AA6-6312-B155-264F87B3C0DD}"/>
          </ac:spMkLst>
        </pc:spChg>
        <pc:spChg chg="add del mod">
          <ac:chgData name="Klaudia Gnyla" userId="7fd7bc4b-04b7-46f5-adb4-8d479a07b147" providerId="ADAL" clId="{34B4283B-E526-480A-9AB1-868AB2261910}" dt="2022-12-05T13:25:17.182" v="235" actId="478"/>
          <ac:spMkLst>
            <pc:docMk/>
            <pc:sldMk cId="2008748543" sldId="1120"/>
            <ac:spMk id="5" creationId="{E91C9AE9-8BD4-6E7C-2277-DE2A3FCE321F}"/>
          </ac:spMkLst>
        </pc:spChg>
        <pc:spChg chg="add del mod">
          <ac:chgData name="Klaudia Gnyla" userId="7fd7bc4b-04b7-46f5-adb4-8d479a07b147" providerId="ADAL" clId="{34B4283B-E526-480A-9AB1-868AB2261910}" dt="2022-12-05T13:25:23.136" v="238" actId="478"/>
          <ac:spMkLst>
            <pc:docMk/>
            <pc:sldMk cId="2008748543" sldId="1120"/>
            <ac:spMk id="7" creationId="{8B5B4A8D-AF0B-4E1E-BEED-EA4F4E86E563}"/>
          </ac:spMkLst>
        </pc:spChg>
        <pc:spChg chg="add del mod">
          <ac:chgData name="Klaudia Gnyla" userId="7fd7bc4b-04b7-46f5-adb4-8d479a07b147" providerId="ADAL" clId="{34B4283B-E526-480A-9AB1-868AB2261910}" dt="2022-12-05T13:37:56.167" v="570" actId="478"/>
          <ac:spMkLst>
            <pc:docMk/>
            <pc:sldMk cId="2008748543" sldId="1120"/>
            <ac:spMk id="8" creationId="{017D5F6B-CDE8-7C14-8CC1-6C1397E5A738}"/>
          </ac:spMkLst>
        </pc:spChg>
        <pc:spChg chg="add mod">
          <ac:chgData name="Klaudia Gnyla" userId="7fd7bc4b-04b7-46f5-adb4-8d479a07b147" providerId="ADAL" clId="{34B4283B-E526-480A-9AB1-868AB2261910}" dt="2023-01-04T11:45:29.627" v="12439" actId="20577"/>
          <ac:spMkLst>
            <pc:docMk/>
            <pc:sldMk cId="2008748543" sldId="1120"/>
            <ac:spMk id="9" creationId="{0476BE7D-45CD-9477-D2D5-010C35E1B2DB}"/>
          </ac:spMkLst>
        </pc:spChg>
        <pc:spChg chg="add mod">
          <ac:chgData name="Klaudia Gnyla" userId="7fd7bc4b-04b7-46f5-adb4-8d479a07b147" providerId="ADAL" clId="{34B4283B-E526-480A-9AB1-868AB2261910}" dt="2022-12-05T13:37:52.644" v="569"/>
          <ac:spMkLst>
            <pc:docMk/>
            <pc:sldMk cId="2008748543" sldId="1120"/>
            <ac:spMk id="10" creationId="{9A110170-238D-5852-CDA2-276A246AE003}"/>
          </ac:spMkLst>
        </pc:spChg>
        <pc:spChg chg="del mod">
          <ac:chgData name="Klaudia Gnyla" userId="7fd7bc4b-04b7-46f5-adb4-8d479a07b147" providerId="ADAL" clId="{34B4283B-E526-480A-9AB1-868AB2261910}" dt="2022-12-07T10:05:43.150" v="9039" actId="478"/>
          <ac:spMkLst>
            <pc:docMk/>
            <pc:sldMk cId="2008748543" sldId="1120"/>
            <ac:spMk id="14" creationId="{B46FD43B-95E8-0344-9485-DDBB6B61963C}"/>
          </ac:spMkLst>
        </pc:spChg>
        <pc:spChg chg="del">
          <ac:chgData name="Klaudia Gnyla" userId="7fd7bc4b-04b7-46f5-adb4-8d479a07b147" providerId="ADAL" clId="{34B4283B-E526-480A-9AB1-868AB2261910}" dt="2022-12-05T13:25:18.998" v="236" actId="478"/>
          <ac:spMkLst>
            <pc:docMk/>
            <pc:sldMk cId="2008748543" sldId="1120"/>
            <ac:spMk id="16" creationId="{C0CCDECB-BD40-FA4B-B3E1-A0DD82F50761}"/>
          </ac:spMkLst>
        </pc:spChg>
        <pc:spChg chg="del">
          <ac:chgData name="Klaudia Gnyla" userId="7fd7bc4b-04b7-46f5-adb4-8d479a07b147" providerId="ADAL" clId="{34B4283B-E526-480A-9AB1-868AB2261910}" dt="2022-12-05T13:25:25.378" v="239" actId="478"/>
          <ac:spMkLst>
            <pc:docMk/>
            <pc:sldMk cId="2008748543" sldId="1120"/>
            <ac:spMk id="17" creationId="{9C5CC100-5475-B342-8B5C-69415A5772B8}"/>
          </ac:spMkLst>
        </pc:spChg>
      </pc:sldChg>
      <pc:sldChg chg="addSp delSp modSp add del mod">
        <pc:chgData name="Klaudia Gnyla" userId="7fd7bc4b-04b7-46f5-adb4-8d479a07b147" providerId="ADAL" clId="{34B4283B-E526-480A-9AB1-868AB2261910}" dt="2022-12-09T11:57:00.244" v="9076" actId="2696"/>
        <pc:sldMkLst>
          <pc:docMk/>
          <pc:sldMk cId="3346723286" sldId="1121"/>
        </pc:sldMkLst>
        <pc:spChg chg="add mod ord">
          <ac:chgData name="Klaudia Gnyla" userId="7fd7bc4b-04b7-46f5-adb4-8d479a07b147" providerId="ADAL" clId="{34B4283B-E526-480A-9AB1-868AB2261910}" dt="2022-12-06T13:43:02.079" v="4706" actId="14100"/>
          <ac:spMkLst>
            <pc:docMk/>
            <pc:sldMk cId="3346723286" sldId="1121"/>
            <ac:spMk id="2" creationId="{0C4B0262-1A67-FC72-193A-11D9CAF34C20}"/>
          </ac:spMkLst>
        </pc:spChg>
        <pc:spChg chg="add del mod">
          <ac:chgData name="Klaudia Gnyla" userId="7fd7bc4b-04b7-46f5-adb4-8d479a07b147" providerId="ADAL" clId="{34B4283B-E526-480A-9AB1-868AB2261910}" dt="2022-12-05T13:39:05.131" v="573"/>
          <ac:spMkLst>
            <pc:docMk/>
            <pc:sldMk cId="3346723286" sldId="1121"/>
            <ac:spMk id="2" creationId="{F7AAB060-3073-10CD-4737-B51D3B3CC46D}"/>
          </ac:spMkLst>
        </pc:spChg>
        <pc:spChg chg="add mod">
          <ac:chgData name="Klaudia Gnyla" userId="7fd7bc4b-04b7-46f5-adb4-8d479a07b147" providerId="ADAL" clId="{34B4283B-E526-480A-9AB1-868AB2261910}" dt="2022-12-05T13:51:24.053" v="815" actId="20577"/>
          <ac:spMkLst>
            <pc:docMk/>
            <pc:sldMk cId="3346723286" sldId="1121"/>
            <ac:spMk id="3" creationId="{C25793B3-4D22-16D7-612F-6CE1506FD4CA}"/>
          </ac:spMkLst>
        </pc:spChg>
        <pc:spChg chg="add del mod">
          <ac:chgData name="Klaudia Gnyla" userId="7fd7bc4b-04b7-46f5-adb4-8d479a07b147" providerId="ADAL" clId="{34B4283B-E526-480A-9AB1-868AB2261910}" dt="2022-12-05T13:40:39.616" v="600" actId="478"/>
          <ac:spMkLst>
            <pc:docMk/>
            <pc:sldMk cId="3346723286" sldId="1121"/>
            <ac:spMk id="4" creationId="{85FE40DA-A836-7C04-F219-0D59CBEC00EC}"/>
          </ac:spMkLst>
        </pc:spChg>
        <pc:spChg chg="add mod">
          <ac:chgData name="Klaudia Gnyla" userId="7fd7bc4b-04b7-46f5-adb4-8d479a07b147" providerId="ADAL" clId="{34B4283B-E526-480A-9AB1-868AB2261910}" dt="2022-12-05T15:56:19.305" v="2619" actId="255"/>
          <ac:spMkLst>
            <pc:docMk/>
            <pc:sldMk cId="3346723286" sldId="1121"/>
            <ac:spMk id="5" creationId="{85DCAD67-435E-5072-629D-AC361B605B15}"/>
          </ac:spMkLst>
        </pc:spChg>
        <pc:spChg chg="add del mod">
          <ac:chgData name="Klaudia Gnyla" userId="7fd7bc4b-04b7-46f5-adb4-8d479a07b147" providerId="ADAL" clId="{34B4283B-E526-480A-9AB1-868AB2261910}" dt="2022-12-05T15:25:07.952" v="1039" actId="478"/>
          <ac:spMkLst>
            <pc:docMk/>
            <pc:sldMk cId="3346723286" sldId="1121"/>
            <ac:spMk id="7" creationId="{811A947D-56DE-BA55-E86B-83385BFC31F2}"/>
          </ac:spMkLst>
        </pc:spChg>
        <pc:spChg chg="add mod">
          <ac:chgData name="Klaudia Gnyla" userId="7fd7bc4b-04b7-46f5-adb4-8d479a07b147" providerId="ADAL" clId="{34B4283B-E526-480A-9AB1-868AB2261910}" dt="2022-12-05T15:25:18.311" v="1040" actId="1076"/>
          <ac:spMkLst>
            <pc:docMk/>
            <pc:sldMk cId="3346723286" sldId="1121"/>
            <ac:spMk id="8" creationId="{CE0C0001-CFB6-7C87-AA24-0C0DDCD37C1D}"/>
          </ac:spMkLst>
        </pc:spChg>
        <pc:spChg chg="add mod">
          <ac:chgData name="Klaudia Gnyla" userId="7fd7bc4b-04b7-46f5-adb4-8d479a07b147" providerId="ADAL" clId="{34B4283B-E526-480A-9AB1-868AB2261910}" dt="2022-12-06T13:51:01.508" v="4856" actId="1076"/>
          <ac:spMkLst>
            <pc:docMk/>
            <pc:sldMk cId="3346723286" sldId="1121"/>
            <ac:spMk id="9" creationId="{14AFD8F9-D907-7162-63DB-6001BD29BE62}"/>
          </ac:spMkLst>
        </pc:spChg>
        <pc:spChg chg="add del mod">
          <ac:chgData name="Klaudia Gnyla" userId="7fd7bc4b-04b7-46f5-adb4-8d479a07b147" providerId="ADAL" clId="{34B4283B-E526-480A-9AB1-868AB2261910}" dt="2022-12-05T15:33:39.170" v="1316" actId="478"/>
          <ac:spMkLst>
            <pc:docMk/>
            <pc:sldMk cId="3346723286" sldId="1121"/>
            <ac:spMk id="10" creationId="{FF74CB7E-7C60-21B9-3FA5-164582395BE9}"/>
          </ac:spMkLst>
        </pc:spChg>
        <pc:spChg chg="add mod">
          <ac:chgData name="Klaudia Gnyla" userId="7fd7bc4b-04b7-46f5-adb4-8d479a07b147" providerId="ADAL" clId="{34B4283B-E526-480A-9AB1-868AB2261910}" dt="2022-12-06T13:50:56.293" v="4855" actId="1076"/>
          <ac:spMkLst>
            <pc:docMk/>
            <pc:sldMk cId="3346723286" sldId="1121"/>
            <ac:spMk id="11" creationId="{6855FBEB-974D-4807-6045-1EBE2EECE51F}"/>
          </ac:spMkLst>
        </pc:spChg>
        <pc:spChg chg="add mod">
          <ac:chgData name="Klaudia Gnyla" userId="7fd7bc4b-04b7-46f5-adb4-8d479a07b147" providerId="ADAL" clId="{34B4283B-E526-480A-9AB1-868AB2261910}" dt="2022-12-06T13:51:10.654" v="4857" actId="1076"/>
          <ac:spMkLst>
            <pc:docMk/>
            <pc:sldMk cId="3346723286" sldId="1121"/>
            <ac:spMk id="12" creationId="{60D1D33A-2AFF-27E8-A2CE-0CA46D7E072F}"/>
          </ac:spMkLst>
        </pc:spChg>
        <pc:spChg chg="mod ord">
          <ac:chgData name="Klaudia Gnyla" userId="7fd7bc4b-04b7-46f5-adb4-8d479a07b147" providerId="ADAL" clId="{34B4283B-E526-480A-9AB1-868AB2261910}" dt="2022-12-06T13:42:25.030" v="4700" actId="167"/>
          <ac:spMkLst>
            <pc:docMk/>
            <pc:sldMk cId="3346723286" sldId="1121"/>
            <ac:spMk id="14" creationId="{B46FD43B-95E8-0344-9485-DDBB6B61963C}"/>
          </ac:spMkLst>
        </pc:spChg>
        <pc:picChg chg="add mod">
          <ac:chgData name="Klaudia Gnyla" userId="7fd7bc4b-04b7-46f5-adb4-8d479a07b147" providerId="ADAL" clId="{34B4283B-E526-480A-9AB1-868AB2261910}" dt="2022-12-06T13:50:53.136" v="4854" actId="1076"/>
          <ac:picMkLst>
            <pc:docMk/>
            <pc:sldMk cId="3346723286" sldId="1121"/>
            <ac:picMk id="6" creationId="{B04ED7D3-C562-95C0-3C5C-5E3E58B93DB0}"/>
          </ac:picMkLst>
        </pc:picChg>
      </pc:sldChg>
      <pc:sldChg chg="addSp delSp modSp add del mod modCm">
        <pc:chgData name="Klaudia Gnyla" userId="7fd7bc4b-04b7-46f5-adb4-8d479a07b147" providerId="ADAL" clId="{34B4283B-E526-480A-9AB1-868AB2261910}" dt="2023-01-03T13:46:37.226" v="10422" actId="47"/>
        <pc:sldMkLst>
          <pc:docMk/>
          <pc:sldMk cId="896561430" sldId="1122"/>
        </pc:sldMkLst>
        <pc:spChg chg="add mod">
          <ac:chgData name="Klaudia Gnyla" userId="7fd7bc4b-04b7-46f5-adb4-8d479a07b147" providerId="ADAL" clId="{34B4283B-E526-480A-9AB1-868AB2261910}" dt="2022-12-05T15:23:03.680" v="1025" actId="20577"/>
          <ac:spMkLst>
            <pc:docMk/>
            <pc:sldMk cId="896561430" sldId="1122"/>
            <ac:spMk id="2" creationId="{8D73BFBE-BEE7-C689-6A9F-60874F3C6060}"/>
          </ac:spMkLst>
        </pc:spChg>
        <pc:spChg chg="add mod">
          <ac:chgData name="Klaudia Gnyla" userId="7fd7bc4b-04b7-46f5-adb4-8d479a07b147" providerId="ADAL" clId="{34B4283B-E526-480A-9AB1-868AB2261910}" dt="2022-12-05T15:37:08.417" v="1632"/>
          <ac:spMkLst>
            <pc:docMk/>
            <pc:sldMk cId="896561430" sldId="1122"/>
            <ac:spMk id="3" creationId="{70546F86-255B-F68F-C26B-28388ADBED37}"/>
          </ac:spMkLst>
        </pc:spChg>
        <pc:spChg chg="add mod">
          <ac:chgData name="Klaudia Gnyla" userId="7fd7bc4b-04b7-46f5-adb4-8d479a07b147" providerId="ADAL" clId="{34B4283B-E526-480A-9AB1-868AB2261910}" dt="2022-12-06T12:31:25.598" v="2988" actId="20577"/>
          <ac:spMkLst>
            <pc:docMk/>
            <pc:sldMk cId="896561430" sldId="1122"/>
            <ac:spMk id="4" creationId="{8D68BF2E-41F9-4963-D825-21EB1B547B2C}"/>
          </ac:spMkLst>
        </pc:spChg>
        <pc:spChg chg="add del mod">
          <ac:chgData name="Klaudia Gnyla" userId="7fd7bc4b-04b7-46f5-adb4-8d479a07b147" providerId="ADAL" clId="{34B4283B-E526-480A-9AB1-868AB2261910}" dt="2023-01-03T13:38:50.936" v="10326" actId="478"/>
          <ac:spMkLst>
            <pc:docMk/>
            <pc:sldMk cId="896561430" sldId="1122"/>
            <ac:spMk id="5" creationId="{9A75AEC5-C952-3E4B-371B-C7C403CECA3F}"/>
          </ac:spMkLst>
        </pc:spChg>
        <pc:spChg chg="add mod ord">
          <ac:chgData name="Klaudia Gnyla" userId="7fd7bc4b-04b7-46f5-adb4-8d479a07b147" providerId="ADAL" clId="{34B4283B-E526-480A-9AB1-868AB2261910}" dt="2022-12-06T13:43:35.364" v="4713" actId="14100"/>
          <ac:spMkLst>
            <pc:docMk/>
            <pc:sldMk cId="896561430" sldId="1122"/>
            <ac:spMk id="6" creationId="{7005A0D3-8593-065E-8B86-4213A6AF534B}"/>
          </ac:spMkLst>
        </pc:spChg>
        <pc:spChg chg="add mod">
          <ac:chgData name="Klaudia Gnyla" userId="7fd7bc4b-04b7-46f5-adb4-8d479a07b147" providerId="ADAL" clId="{34B4283B-E526-480A-9AB1-868AB2261910}" dt="2022-12-05T15:54:28.350" v="2576" actId="1076"/>
          <ac:spMkLst>
            <pc:docMk/>
            <pc:sldMk cId="896561430" sldId="1122"/>
            <ac:spMk id="7" creationId="{AE3DDE9B-6C58-23F0-8AB2-5CE20D1AC457}"/>
          </ac:spMkLst>
        </pc:spChg>
        <pc:spChg chg="add del mod">
          <ac:chgData name="Klaudia Gnyla" userId="7fd7bc4b-04b7-46f5-adb4-8d479a07b147" providerId="ADAL" clId="{34B4283B-E526-480A-9AB1-868AB2261910}" dt="2023-01-03T11:43:03.024" v="9078"/>
          <ac:spMkLst>
            <pc:docMk/>
            <pc:sldMk cId="896561430" sldId="1122"/>
            <ac:spMk id="8" creationId="{C448029F-8F33-7C5F-6A03-3AF4A57802D7}"/>
          </ac:spMkLst>
        </pc:spChg>
        <pc:spChg chg="add del mod">
          <ac:chgData name="Klaudia Gnyla" userId="7fd7bc4b-04b7-46f5-adb4-8d479a07b147" providerId="ADAL" clId="{34B4283B-E526-480A-9AB1-868AB2261910}" dt="2022-12-06T12:31:29.935" v="2989" actId="478"/>
          <ac:spMkLst>
            <pc:docMk/>
            <pc:sldMk cId="896561430" sldId="1122"/>
            <ac:spMk id="10" creationId="{B7786F0A-0747-6DD1-5F58-A714880D0E20}"/>
          </ac:spMkLst>
        </pc:spChg>
        <pc:spChg chg="add del mod">
          <ac:chgData name="Klaudia Gnyla" userId="7fd7bc4b-04b7-46f5-adb4-8d479a07b147" providerId="ADAL" clId="{34B4283B-E526-480A-9AB1-868AB2261910}" dt="2023-01-03T13:42:08.525" v="10415" actId="478"/>
          <ac:spMkLst>
            <pc:docMk/>
            <pc:sldMk cId="896561430" sldId="1122"/>
            <ac:spMk id="11" creationId="{DDC8931A-4DFF-831E-0031-8674FFB79595}"/>
          </ac:spMkLst>
        </pc:spChg>
        <pc:spChg chg="add del mod">
          <ac:chgData name="Klaudia Gnyla" userId="7fd7bc4b-04b7-46f5-adb4-8d479a07b147" providerId="ADAL" clId="{34B4283B-E526-480A-9AB1-868AB2261910}" dt="2023-01-03T13:42:10.139" v="10416" actId="478"/>
          <ac:spMkLst>
            <pc:docMk/>
            <pc:sldMk cId="896561430" sldId="1122"/>
            <ac:spMk id="12" creationId="{D75B5BEA-16EB-30B7-4FC1-F387BEB173F2}"/>
          </ac:spMkLst>
        </pc:spChg>
        <pc:graphicFrameChg chg="add mod">
          <ac:chgData name="Klaudia Gnyla" userId="7fd7bc4b-04b7-46f5-adb4-8d479a07b147" providerId="ADAL" clId="{34B4283B-E526-480A-9AB1-868AB2261910}" dt="2023-01-03T13:43:16.948" v="10421"/>
          <ac:graphicFrameMkLst>
            <pc:docMk/>
            <pc:sldMk cId="896561430" sldId="1122"/>
            <ac:graphicFrameMk id="13" creationId="{F8C24172-EF7F-BD6C-E13C-87672D0B6348}"/>
          </ac:graphicFrameMkLst>
        </pc:graphicFrameChg>
        <pc:picChg chg="add del mod">
          <ac:chgData name="Klaudia Gnyla" userId="7fd7bc4b-04b7-46f5-adb4-8d479a07b147" providerId="ADAL" clId="{34B4283B-E526-480A-9AB1-868AB2261910}" dt="2022-12-05T15:48:06.746" v="2167" actId="478"/>
          <ac:picMkLst>
            <pc:docMk/>
            <pc:sldMk cId="896561430" sldId="1122"/>
            <ac:picMk id="5" creationId="{C45E6173-E958-511D-D899-4574E1FF262A}"/>
          </ac:picMkLst>
        </pc:picChg>
        <pc:picChg chg="add del mod">
          <ac:chgData name="Klaudia Gnyla" userId="7fd7bc4b-04b7-46f5-adb4-8d479a07b147" providerId="ADAL" clId="{34B4283B-E526-480A-9AB1-868AB2261910}" dt="2022-12-05T15:45:47.281" v="2156"/>
          <ac:picMkLst>
            <pc:docMk/>
            <pc:sldMk cId="896561430" sldId="1122"/>
            <ac:picMk id="6" creationId="{843982E3-B556-12C5-5CD7-5B27B4290E04}"/>
          </ac:picMkLst>
        </pc:picChg>
        <pc:picChg chg="add del mod">
          <ac:chgData name="Klaudia Gnyla" userId="7fd7bc4b-04b7-46f5-adb4-8d479a07b147" providerId="ADAL" clId="{34B4283B-E526-480A-9AB1-868AB2261910}" dt="2022-12-05T15:56:44.881" v="2621" actId="478"/>
          <ac:picMkLst>
            <pc:docMk/>
            <pc:sldMk cId="896561430" sldId="1122"/>
            <ac:picMk id="9" creationId="{5EF468E8-E048-EBFA-291D-1706D1FA249B}"/>
          </ac:picMkLst>
        </pc:picChg>
        <pc:picChg chg="add del">
          <ac:chgData name="Klaudia Gnyla" userId="7fd7bc4b-04b7-46f5-adb4-8d479a07b147" providerId="ADAL" clId="{34B4283B-E526-480A-9AB1-868AB2261910}" dt="2022-12-05T15:47:04.709" v="2161" actId="478"/>
          <ac:picMkLst>
            <pc:docMk/>
            <pc:sldMk cId="896561430" sldId="1122"/>
            <ac:picMk id="1026" creationId="{4B1D3324-8754-3330-7E11-AAC1CA6734BA}"/>
          </ac:picMkLst>
        </pc:picChg>
      </pc:sldChg>
      <pc:sldChg chg="addSp delSp modSp add del mod">
        <pc:chgData name="Klaudia Gnyla" userId="7fd7bc4b-04b7-46f5-adb4-8d479a07b147" providerId="ADAL" clId="{34B4283B-E526-480A-9AB1-868AB2261910}" dt="2023-01-04T08:22:03.345" v="10657" actId="2696"/>
        <pc:sldMkLst>
          <pc:docMk/>
          <pc:sldMk cId="94774288" sldId="1123"/>
        </pc:sldMkLst>
        <pc:spChg chg="add mod">
          <ac:chgData name="Klaudia Gnyla" userId="7fd7bc4b-04b7-46f5-adb4-8d479a07b147" providerId="ADAL" clId="{34B4283B-E526-480A-9AB1-868AB2261910}" dt="2022-12-05T15:55:27.763" v="2602" actId="20577"/>
          <ac:spMkLst>
            <pc:docMk/>
            <pc:sldMk cId="94774288" sldId="1123"/>
            <ac:spMk id="2" creationId="{74911C35-C279-0BA6-EABB-4EDF85DF08B9}"/>
          </ac:spMkLst>
        </pc:spChg>
        <pc:spChg chg="add mod">
          <ac:chgData name="Klaudia Gnyla" userId="7fd7bc4b-04b7-46f5-adb4-8d479a07b147" providerId="ADAL" clId="{34B4283B-E526-480A-9AB1-868AB2261910}" dt="2022-12-06T12:36:34.772" v="3204" actId="20577"/>
          <ac:spMkLst>
            <pc:docMk/>
            <pc:sldMk cId="94774288" sldId="1123"/>
            <ac:spMk id="3" creationId="{C3E084AC-5A63-1010-7628-435BB27D32B7}"/>
          </ac:spMkLst>
        </pc:spChg>
        <pc:spChg chg="add del mod">
          <ac:chgData name="Klaudia Gnyla" userId="7fd7bc4b-04b7-46f5-adb4-8d479a07b147" providerId="ADAL" clId="{34B4283B-E526-480A-9AB1-868AB2261910}" dt="2022-12-06T12:46:11.172" v="3297" actId="478"/>
          <ac:spMkLst>
            <pc:docMk/>
            <pc:sldMk cId="94774288" sldId="1123"/>
            <ac:spMk id="4" creationId="{82F6E298-1B39-57B6-EA8A-1174B8752592}"/>
          </ac:spMkLst>
        </pc:spChg>
        <pc:spChg chg="add del mod">
          <ac:chgData name="Klaudia Gnyla" userId="7fd7bc4b-04b7-46f5-adb4-8d479a07b147" providerId="ADAL" clId="{34B4283B-E526-480A-9AB1-868AB2261910}" dt="2022-12-06T12:49:53.488" v="3518" actId="478"/>
          <ac:spMkLst>
            <pc:docMk/>
            <pc:sldMk cId="94774288" sldId="1123"/>
            <ac:spMk id="5" creationId="{CEAA476C-F0BB-1E6B-636A-D9A66BE86F56}"/>
          </ac:spMkLst>
        </pc:spChg>
        <pc:spChg chg="add del mod">
          <ac:chgData name="Klaudia Gnyla" userId="7fd7bc4b-04b7-46f5-adb4-8d479a07b147" providerId="ADAL" clId="{34B4283B-E526-480A-9AB1-868AB2261910}" dt="2022-12-06T12:49:51.396" v="3517" actId="478"/>
          <ac:spMkLst>
            <pc:docMk/>
            <pc:sldMk cId="94774288" sldId="1123"/>
            <ac:spMk id="6" creationId="{5A810E15-E1AC-4CC0-E95D-52199C2A60D0}"/>
          </ac:spMkLst>
        </pc:spChg>
        <pc:spChg chg="add del mod">
          <ac:chgData name="Klaudia Gnyla" userId="7fd7bc4b-04b7-46f5-adb4-8d479a07b147" providerId="ADAL" clId="{34B4283B-E526-480A-9AB1-868AB2261910}" dt="2022-12-06T12:49:54.623" v="3519" actId="478"/>
          <ac:spMkLst>
            <pc:docMk/>
            <pc:sldMk cId="94774288" sldId="1123"/>
            <ac:spMk id="7" creationId="{451FE529-0655-709D-8EDE-03247293A5B8}"/>
          </ac:spMkLst>
        </pc:spChg>
        <pc:spChg chg="add del mod">
          <ac:chgData name="Klaudia Gnyla" userId="7fd7bc4b-04b7-46f5-adb4-8d479a07b147" providerId="ADAL" clId="{34B4283B-E526-480A-9AB1-868AB2261910}" dt="2022-12-06T12:37:42.459" v="3218" actId="11529"/>
          <ac:spMkLst>
            <pc:docMk/>
            <pc:sldMk cId="94774288" sldId="1123"/>
            <ac:spMk id="8" creationId="{CA2ECB0F-9CCC-2798-F846-B7B0A1831FED}"/>
          </ac:spMkLst>
        </pc:spChg>
        <pc:spChg chg="add del mod">
          <ac:chgData name="Klaudia Gnyla" userId="7fd7bc4b-04b7-46f5-adb4-8d479a07b147" providerId="ADAL" clId="{34B4283B-E526-480A-9AB1-868AB2261910}" dt="2022-12-06T12:43:33.513" v="3248" actId="478"/>
          <ac:spMkLst>
            <pc:docMk/>
            <pc:sldMk cId="94774288" sldId="1123"/>
            <ac:spMk id="10" creationId="{41970FCE-FCA1-ACE6-3224-0D17488D41E2}"/>
          </ac:spMkLst>
        </pc:spChg>
        <pc:spChg chg="del mod">
          <ac:chgData name="Klaudia Gnyla" userId="7fd7bc4b-04b7-46f5-adb4-8d479a07b147" providerId="ADAL" clId="{34B4283B-E526-480A-9AB1-868AB2261910}" dt="2022-12-06T13:06:05.956" v="4020" actId="478"/>
          <ac:spMkLst>
            <pc:docMk/>
            <pc:sldMk cId="94774288" sldId="1123"/>
            <ac:spMk id="14" creationId="{B46FD43B-95E8-0344-9485-DDBB6B61963C}"/>
          </ac:spMkLst>
        </pc:spChg>
        <pc:spChg chg="add del mod">
          <ac:chgData name="Klaudia Gnyla" userId="7fd7bc4b-04b7-46f5-adb4-8d479a07b147" providerId="ADAL" clId="{34B4283B-E526-480A-9AB1-868AB2261910}" dt="2022-12-07T09:28:12.253" v="8795" actId="478"/>
          <ac:spMkLst>
            <pc:docMk/>
            <pc:sldMk cId="94774288" sldId="1123"/>
            <ac:spMk id="18" creationId="{D4DE2F5A-F549-0182-2A5A-9EBC85FAAC9D}"/>
          </ac:spMkLst>
        </pc:spChg>
        <pc:spChg chg="add del mod">
          <ac:chgData name="Klaudia Gnyla" userId="7fd7bc4b-04b7-46f5-adb4-8d479a07b147" providerId="ADAL" clId="{34B4283B-E526-480A-9AB1-868AB2261910}" dt="2022-12-07T09:22:43.015" v="8619" actId="478"/>
          <ac:spMkLst>
            <pc:docMk/>
            <pc:sldMk cId="94774288" sldId="1123"/>
            <ac:spMk id="19" creationId="{23EA8239-9990-21FF-0842-A358FA4405F8}"/>
          </ac:spMkLst>
        </pc:spChg>
        <pc:spChg chg="add del mod">
          <ac:chgData name="Klaudia Gnyla" userId="7fd7bc4b-04b7-46f5-adb4-8d479a07b147" providerId="ADAL" clId="{34B4283B-E526-480A-9AB1-868AB2261910}" dt="2022-12-07T09:32:08.054" v="8837" actId="478"/>
          <ac:spMkLst>
            <pc:docMk/>
            <pc:sldMk cId="94774288" sldId="1123"/>
            <ac:spMk id="20" creationId="{1B5F2EEC-CC82-F510-B382-D3DFDF6695C4}"/>
          </ac:spMkLst>
        </pc:spChg>
        <pc:spChg chg="add mod">
          <ac:chgData name="Klaudia Gnyla" userId="7fd7bc4b-04b7-46f5-adb4-8d479a07b147" providerId="ADAL" clId="{34B4283B-E526-480A-9AB1-868AB2261910}" dt="2022-12-06T12:59:17.741" v="3824" actId="27636"/>
          <ac:spMkLst>
            <pc:docMk/>
            <pc:sldMk cId="94774288" sldId="1123"/>
            <ac:spMk id="21" creationId="{979D7D1A-6814-4FE6-A8BD-012FC5764A35}"/>
          </ac:spMkLst>
        </pc:spChg>
        <pc:spChg chg="add del mod">
          <ac:chgData name="Klaudia Gnyla" userId="7fd7bc4b-04b7-46f5-adb4-8d479a07b147" providerId="ADAL" clId="{34B4283B-E526-480A-9AB1-868AB2261910}" dt="2022-12-07T09:32:00.290" v="8835" actId="478"/>
          <ac:spMkLst>
            <pc:docMk/>
            <pc:sldMk cId="94774288" sldId="1123"/>
            <ac:spMk id="22" creationId="{A9B1B7F6-D58B-8694-D73D-622C1C1EDAD6}"/>
          </ac:spMkLst>
        </pc:spChg>
        <pc:spChg chg="add del mod ord">
          <ac:chgData name="Klaudia Gnyla" userId="7fd7bc4b-04b7-46f5-adb4-8d479a07b147" providerId="ADAL" clId="{34B4283B-E526-480A-9AB1-868AB2261910}" dt="2022-12-07T09:28:10.156" v="8794" actId="478"/>
          <ac:spMkLst>
            <pc:docMk/>
            <pc:sldMk cId="94774288" sldId="1123"/>
            <ac:spMk id="23" creationId="{03AF2631-7123-77DC-C558-143CEC749662}"/>
          </ac:spMkLst>
        </pc:spChg>
        <pc:spChg chg="add mod">
          <ac:chgData name="Klaudia Gnyla" userId="7fd7bc4b-04b7-46f5-adb4-8d479a07b147" providerId="ADAL" clId="{34B4283B-E526-480A-9AB1-868AB2261910}" dt="2022-12-07T09:33:57.728" v="8848" actId="1076"/>
          <ac:spMkLst>
            <pc:docMk/>
            <pc:sldMk cId="94774288" sldId="1123"/>
            <ac:spMk id="24" creationId="{78D98127-8EA1-0ACB-723F-83787B41BBA5}"/>
          </ac:spMkLst>
        </pc:spChg>
        <pc:spChg chg="add mod">
          <ac:chgData name="Klaudia Gnyla" userId="7fd7bc4b-04b7-46f5-adb4-8d479a07b147" providerId="ADAL" clId="{34B4283B-E526-480A-9AB1-868AB2261910}" dt="2022-12-07T09:36:23.394" v="8880" actId="1076"/>
          <ac:spMkLst>
            <pc:docMk/>
            <pc:sldMk cId="94774288" sldId="1123"/>
            <ac:spMk id="36" creationId="{90F68B2E-C427-CB18-2511-ACC0C6A41B64}"/>
          </ac:spMkLst>
        </pc:spChg>
        <pc:spChg chg="add mod">
          <ac:chgData name="Klaudia Gnyla" userId="7fd7bc4b-04b7-46f5-adb4-8d479a07b147" providerId="ADAL" clId="{34B4283B-E526-480A-9AB1-868AB2261910}" dt="2022-12-07T09:37:11.124" v="8888" actId="1076"/>
          <ac:spMkLst>
            <pc:docMk/>
            <pc:sldMk cId="94774288" sldId="1123"/>
            <ac:spMk id="37" creationId="{5DD69C7B-C17A-C255-6E36-8F62BF9BAA61}"/>
          </ac:spMkLst>
        </pc:spChg>
        <pc:spChg chg="add mod">
          <ac:chgData name="Klaudia Gnyla" userId="7fd7bc4b-04b7-46f5-adb4-8d479a07b147" providerId="ADAL" clId="{34B4283B-E526-480A-9AB1-868AB2261910}" dt="2022-12-07T09:36:28.567" v="8881" actId="1076"/>
          <ac:spMkLst>
            <pc:docMk/>
            <pc:sldMk cId="94774288" sldId="1123"/>
            <ac:spMk id="38" creationId="{65E0759B-98FB-9EB7-C66D-866DAEF9BFEF}"/>
          </ac:spMkLst>
        </pc:spChg>
        <pc:spChg chg="add mod">
          <ac:chgData name="Klaudia Gnyla" userId="7fd7bc4b-04b7-46f5-adb4-8d479a07b147" providerId="ADAL" clId="{34B4283B-E526-480A-9AB1-868AB2261910}" dt="2022-12-07T09:33:54.084" v="8847" actId="1076"/>
          <ac:spMkLst>
            <pc:docMk/>
            <pc:sldMk cId="94774288" sldId="1123"/>
            <ac:spMk id="39" creationId="{325E44C9-A65A-5F2C-2837-D69AC7640C57}"/>
          </ac:spMkLst>
        </pc:spChg>
        <pc:inkChg chg="add del mod">
          <ac:chgData name="Klaudia Gnyla" userId="7fd7bc4b-04b7-46f5-adb4-8d479a07b147" providerId="ADAL" clId="{34B4283B-E526-480A-9AB1-868AB2261910}" dt="2022-12-06T12:45:17.182" v="3293" actId="478"/>
          <ac:inkMkLst>
            <pc:docMk/>
            <pc:sldMk cId="94774288" sldId="1123"/>
            <ac:inkMk id="17" creationId="{98D7F48B-98F6-DA63-29D2-F9369D18C9EA}"/>
          </ac:inkMkLst>
        </pc:inkChg>
        <pc:cxnChg chg="add del mod">
          <ac:chgData name="Klaudia Gnyla" userId="7fd7bc4b-04b7-46f5-adb4-8d479a07b147" providerId="ADAL" clId="{34B4283B-E526-480A-9AB1-868AB2261910}" dt="2022-12-06T12:43:37.482" v="3251" actId="478"/>
          <ac:cxnSpMkLst>
            <pc:docMk/>
            <pc:sldMk cId="94774288" sldId="1123"/>
            <ac:cxnSpMk id="9" creationId="{3C480FFF-1061-E170-489D-BB5B4D2B4A8F}"/>
          </ac:cxnSpMkLst>
        </pc:cxnChg>
        <pc:cxnChg chg="add del mod">
          <ac:chgData name="Klaudia Gnyla" userId="7fd7bc4b-04b7-46f5-adb4-8d479a07b147" providerId="ADAL" clId="{34B4283B-E526-480A-9AB1-868AB2261910}" dt="2022-12-06T12:43:38.987" v="3253" actId="478"/>
          <ac:cxnSpMkLst>
            <pc:docMk/>
            <pc:sldMk cId="94774288" sldId="1123"/>
            <ac:cxnSpMk id="11" creationId="{5FE7BD4B-50A6-1977-A715-E77FA64C3C45}"/>
          </ac:cxnSpMkLst>
        </pc:cxnChg>
        <pc:cxnChg chg="add del mod">
          <ac:chgData name="Klaudia Gnyla" userId="7fd7bc4b-04b7-46f5-adb4-8d479a07b147" providerId="ADAL" clId="{34B4283B-E526-480A-9AB1-868AB2261910}" dt="2022-12-06T12:43:36.039" v="3249" actId="478"/>
          <ac:cxnSpMkLst>
            <pc:docMk/>
            <pc:sldMk cId="94774288" sldId="1123"/>
            <ac:cxnSpMk id="12" creationId="{4A0E1715-7D33-E1D9-0A01-26B8BA93A1F8}"/>
          </ac:cxnSpMkLst>
        </pc:cxnChg>
        <pc:cxnChg chg="add del mod">
          <ac:chgData name="Klaudia Gnyla" userId="7fd7bc4b-04b7-46f5-adb4-8d479a07b147" providerId="ADAL" clId="{34B4283B-E526-480A-9AB1-868AB2261910}" dt="2022-12-07T09:35:37.675" v="8870" actId="478"/>
          <ac:cxnSpMkLst>
            <pc:docMk/>
            <pc:sldMk cId="94774288" sldId="1123"/>
            <ac:cxnSpMk id="26" creationId="{D469CBCA-CC94-4919-8A02-DA5EF8D3355D}"/>
          </ac:cxnSpMkLst>
        </pc:cxnChg>
        <pc:cxnChg chg="add mod">
          <ac:chgData name="Klaudia Gnyla" userId="7fd7bc4b-04b7-46f5-adb4-8d479a07b147" providerId="ADAL" clId="{34B4283B-E526-480A-9AB1-868AB2261910}" dt="2022-12-07T09:35:20.244" v="8865" actId="1076"/>
          <ac:cxnSpMkLst>
            <pc:docMk/>
            <pc:sldMk cId="94774288" sldId="1123"/>
            <ac:cxnSpMk id="27" creationId="{CE639107-0110-F2BD-EA87-784331B52297}"/>
          </ac:cxnSpMkLst>
        </pc:cxnChg>
        <pc:cxnChg chg="add del mod">
          <ac:chgData name="Klaudia Gnyla" userId="7fd7bc4b-04b7-46f5-adb4-8d479a07b147" providerId="ADAL" clId="{34B4283B-E526-480A-9AB1-868AB2261910}" dt="2022-12-07T09:34:35.115" v="8856" actId="478"/>
          <ac:cxnSpMkLst>
            <pc:docMk/>
            <pc:sldMk cId="94774288" sldId="1123"/>
            <ac:cxnSpMk id="35" creationId="{B27DB9EA-A9E3-D94E-5FB1-D16155E50F3E}"/>
          </ac:cxnSpMkLst>
        </pc:cxnChg>
        <pc:cxnChg chg="add mod">
          <ac:chgData name="Klaudia Gnyla" userId="7fd7bc4b-04b7-46f5-adb4-8d479a07b147" providerId="ADAL" clId="{34B4283B-E526-480A-9AB1-868AB2261910}" dt="2022-12-07T09:36:17.653" v="8879" actId="1076"/>
          <ac:cxnSpMkLst>
            <pc:docMk/>
            <pc:sldMk cId="94774288" sldId="1123"/>
            <ac:cxnSpMk id="46" creationId="{9679E883-819A-D263-9FDA-DF342FD3F23F}"/>
          </ac:cxnSpMkLst>
        </pc:cxnChg>
        <pc:cxnChg chg="add del mod">
          <ac:chgData name="Klaudia Gnyla" userId="7fd7bc4b-04b7-46f5-adb4-8d479a07b147" providerId="ADAL" clId="{34B4283B-E526-480A-9AB1-868AB2261910}" dt="2022-12-07T09:37:07.399" v="8887" actId="478"/>
          <ac:cxnSpMkLst>
            <pc:docMk/>
            <pc:sldMk cId="94774288" sldId="1123"/>
            <ac:cxnSpMk id="52" creationId="{8A85FF80-FA2B-B84C-436F-242DB7A58E20}"/>
          </ac:cxnSpMkLst>
        </pc:cxnChg>
        <pc:cxnChg chg="add mod">
          <ac:chgData name="Klaudia Gnyla" userId="7fd7bc4b-04b7-46f5-adb4-8d479a07b147" providerId="ADAL" clId="{34B4283B-E526-480A-9AB1-868AB2261910}" dt="2022-12-07T09:37:32.029" v="8893" actId="14100"/>
          <ac:cxnSpMkLst>
            <pc:docMk/>
            <pc:sldMk cId="94774288" sldId="1123"/>
            <ac:cxnSpMk id="55" creationId="{4273A23F-5798-3784-BF84-81F62832AF91}"/>
          </ac:cxnSpMkLst>
        </pc:cxnChg>
      </pc:sldChg>
      <pc:sldChg chg="addSp delSp modSp add mod ord delCm">
        <pc:chgData name="Klaudia Gnyla" userId="7fd7bc4b-04b7-46f5-adb4-8d479a07b147" providerId="ADAL" clId="{34B4283B-E526-480A-9AB1-868AB2261910}" dt="2023-01-19T10:46:30.914" v="18192" actId="20577"/>
        <pc:sldMkLst>
          <pc:docMk/>
          <pc:sldMk cId="851914168" sldId="1124"/>
        </pc:sldMkLst>
        <pc:spChg chg="add mod">
          <ac:chgData name="Klaudia Gnyla" userId="7fd7bc4b-04b7-46f5-adb4-8d479a07b147" providerId="ADAL" clId="{34B4283B-E526-480A-9AB1-868AB2261910}" dt="2023-01-04T11:36:14.120" v="12138" actId="20577"/>
          <ac:spMkLst>
            <pc:docMk/>
            <pc:sldMk cId="851914168" sldId="1124"/>
            <ac:spMk id="2" creationId="{63BE7400-AEB7-B1D1-64B9-7801642208A8}"/>
          </ac:spMkLst>
        </pc:spChg>
        <pc:spChg chg="add mod">
          <ac:chgData name="Klaudia Gnyla" userId="7fd7bc4b-04b7-46f5-adb4-8d479a07b147" providerId="ADAL" clId="{34B4283B-E526-480A-9AB1-868AB2261910}" dt="2022-12-06T13:35:03.347" v="4407" actId="1076"/>
          <ac:spMkLst>
            <pc:docMk/>
            <pc:sldMk cId="851914168" sldId="1124"/>
            <ac:spMk id="3" creationId="{380AF6ED-6F8F-CF56-7408-9E8F8F470546}"/>
          </ac:spMkLst>
        </pc:spChg>
        <pc:spChg chg="add del">
          <ac:chgData name="Klaudia Gnyla" userId="7fd7bc4b-04b7-46f5-adb4-8d479a07b147" providerId="ADAL" clId="{34B4283B-E526-480A-9AB1-868AB2261910}" dt="2022-12-06T13:02:28.533" v="3981" actId="478"/>
          <ac:spMkLst>
            <pc:docMk/>
            <pc:sldMk cId="851914168" sldId="1124"/>
            <ac:spMk id="4" creationId="{B4BA7D3F-312A-2178-21E6-98547BBA5DE0}"/>
          </ac:spMkLst>
        </pc:spChg>
        <pc:spChg chg="add del mod">
          <ac:chgData name="Klaudia Gnyla" userId="7fd7bc4b-04b7-46f5-adb4-8d479a07b147" providerId="ADAL" clId="{34B4283B-E526-480A-9AB1-868AB2261910}" dt="2022-12-06T13:03:00.139" v="3985"/>
          <ac:spMkLst>
            <pc:docMk/>
            <pc:sldMk cId="851914168" sldId="1124"/>
            <ac:spMk id="5" creationId="{EB1D8DA7-1EE6-0111-AF15-B605AEA12ABD}"/>
          </ac:spMkLst>
        </pc:spChg>
        <pc:spChg chg="add mod">
          <ac:chgData name="Klaudia Gnyla" userId="7fd7bc4b-04b7-46f5-adb4-8d479a07b147" providerId="ADAL" clId="{34B4283B-E526-480A-9AB1-868AB2261910}" dt="2023-01-11T13:40:18.826" v="12837" actId="1076"/>
          <ac:spMkLst>
            <pc:docMk/>
            <pc:sldMk cId="851914168" sldId="1124"/>
            <ac:spMk id="6" creationId="{D60EF0FD-DC4B-BD10-2C97-554604BA1289}"/>
          </ac:spMkLst>
        </pc:spChg>
        <pc:spChg chg="add mod">
          <ac:chgData name="Klaudia Gnyla" userId="7fd7bc4b-04b7-46f5-adb4-8d479a07b147" providerId="ADAL" clId="{34B4283B-E526-480A-9AB1-868AB2261910}" dt="2023-01-11T13:40:30.716" v="12838" actId="1076"/>
          <ac:spMkLst>
            <pc:docMk/>
            <pc:sldMk cId="851914168" sldId="1124"/>
            <ac:spMk id="7" creationId="{AF8728B1-6805-0C07-95EE-F7E1D9F8E0A3}"/>
          </ac:spMkLst>
        </pc:spChg>
        <pc:spChg chg="del mod">
          <ac:chgData name="Klaudia Gnyla" userId="7fd7bc4b-04b7-46f5-adb4-8d479a07b147" providerId="ADAL" clId="{34B4283B-E526-480A-9AB1-868AB2261910}" dt="2022-12-06T13:06:03.262" v="4018" actId="478"/>
          <ac:spMkLst>
            <pc:docMk/>
            <pc:sldMk cId="851914168" sldId="1124"/>
            <ac:spMk id="14" creationId="{B46FD43B-95E8-0344-9485-DDBB6B61963C}"/>
          </ac:spMkLst>
        </pc:spChg>
        <pc:spChg chg="add mod">
          <ac:chgData name="Klaudia Gnyla" userId="7fd7bc4b-04b7-46f5-adb4-8d479a07b147" providerId="ADAL" clId="{34B4283B-E526-480A-9AB1-868AB2261910}" dt="2022-12-06T13:48:45.175" v="4815" actId="1076"/>
          <ac:spMkLst>
            <pc:docMk/>
            <pc:sldMk cId="851914168" sldId="1124"/>
            <ac:spMk id="20" creationId="{9FFFF452-C413-6938-2A9A-BDED0E3B6913}"/>
          </ac:spMkLst>
        </pc:spChg>
        <pc:spChg chg="add del mod">
          <ac:chgData name="Klaudia Gnyla" userId="7fd7bc4b-04b7-46f5-adb4-8d479a07b147" providerId="ADAL" clId="{34B4283B-E526-480A-9AB1-868AB2261910}" dt="2022-12-06T13:27:13.747" v="4283" actId="478"/>
          <ac:spMkLst>
            <pc:docMk/>
            <pc:sldMk cId="851914168" sldId="1124"/>
            <ac:spMk id="21" creationId="{6A1C73C1-4B24-7100-74E9-8A195F90BE8E}"/>
          </ac:spMkLst>
        </pc:spChg>
        <pc:spChg chg="add mod">
          <ac:chgData name="Klaudia Gnyla" userId="7fd7bc4b-04b7-46f5-adb4-8d479a07b147" providerId="ADAL" clId="{34B4283B-E526-480A-9AB1-868AB2261910}" dt="2022-12-06T13:49:27.833" v="4842" actId="1076"/>
          <ac:spMkLst>
            <pc:docMk/>
            <pc:sldMk cId="851914168" sldId="1124"/>
            <ac:spMk id="22" creationId="{133A204D-490E-8556-07C6-859732929F40}"/>
          </ac:spMkLst>
        </pc:spChg>
        <pc:spChg chg="add mod">
          <ac:chgData name="Klaudia Gnyla" userId="7fd7bc4b-04b7-46f5-adb4-8d479a07b147" providerId="ADAL" clId="{34B4283B-E526-480A-9AB1-868AB2261910}" dt="2023-01-11T13:40:57.144" v="12839" actId="20577"/>
          <ac:spMkLst>
            <pc:docMk/>
            <pc:sldMk cId="851914168" sldId="1124"/>
            <ac:spMk id="23" creationId="{65F442DE-678F-1146-D1FF-6E1E57EB04D1}"/>
          </ac:spMkLst>
        </pc:spChg>
        <pc:spChg chg="add mod">
          <ac:chgData name="Klaudia Gnyla" userId="7fd7bc4b-04b7-46f5-adb4-8d479a07b147" providerId="ADAL" clId="{34B4283B-E526-480A-9AB1-868AB2261910}" dt="2023-01-18T15:17:52.446" v="18083" actId="207"/>
          <ac:spMkLst>
            <pc:docMk/>
            <pc:sldMk cId="851914168" sldId="1124"/>
            <ac:spMk id="24" creationId="{014669D8-B723-6A44-B1D5-0EE563373960}"/>
          </ac:spMkLst>
        </pc:spChg>
        <pc:spChg chg="add mod">
          <ac:chgData name="Klaudia Gnyla" userId="7fd7bc4b-04b7-46f5-adb4-8d479a07b147" providerId="ADAL" clId="{34B4283B-E526-480A-9AB1-868AB2261910}" dt="2022-12-06T13:49:39.564" v="4845" actId="1076"/>
          <ac:spMkLst>
            <pc:docMk/>
            <pc:sldMk cId="851914168" sldId="1124"/>
            <ac:spMk id="25" creationId="{4D91B3A9-7480-970A-D5AB-7A19196E5DEE}"/>
          </ac:spMkLst>
        </pc:spChg>
        <pc:spChg chg="add mod">
          <ac:chgData name="Klaudia Gnyla" userId="7fd7bc4b-04b7-46f5-adb4-8d479a07b147" providerId="ADAL" clId="{34B4283B-E526-480A-9AB1-868AB2261910}" dt="2022-12-06T13:50:21.800" v="4850" actId="1076"/>
          <ac:spMkLst>
            <pc:docMk/>
            <pc:sldMk cId="851914168" sldId="1124"/>
            <ac:spMk id="26" creationId="{077B3501-1055-4D1B-4025-1DC664530B5B}"/>
          </ac:spMkLst>
        </pc:spChg>
        <pc:spChg chg="add mod">
          <ac:chgData name="Klaudia Gnyla" userId="7fd7bc4b-04b7-46f5-adb4-8d479a07b147" providerId="ADAL" clId="{34B4283B-E526-480A-9AB1-868AB2261910}" dt="2022-12-06T13:50:05.476" v="4849" actId="1076"/>
          <ac:spMkLst>
            <pc:docMk/>
            <pc:sldMk cId="851914168" sldId="1124"/>
            <ac:spMk id="27" creationId="{4743D595-0C07-1A15-A211-CC7F24C33318}"/>
          </ac:spMkLst>
        </pc:spChg>
        <pc:spChg chg="add mod">
          <ac:chgData name="Klaudia Gnyla" userId="7fd7bc4b-04b7-46f5-adb4-8d479a07b147" providerId="ADAL" clId="{34B4283B-E526-480A-9AB1-868AB2261910}" dt="2023-01-03T13:48:53.426" v="10438" actId="1036"/>
          <ac:spMkLst>
            <pc:docMk/>
            <pc:sldMk cId="851914168" sldId="1124"/>
            <ac:spMk id="28" creationId="{CBA47265-6F41-9958-584D-225E1CB6848A}"/>
          </ac:spMkLst>
        </pc:spChg>
        <pc:spChg chg="add mod">
          <ac:chgData name="Klaudia Gnyla" userId="7fd7bc4b-04b7-46f5-adb4-8d479a07b147" providerId="ADAL" clId="{34B4283B-E526-480A-9AB1-868AB2261910}" dt="2023-01-19T10:46:30.914" v="18192" actId="20577"/>
          <ac:spMkLst>
            <pc:docMk/>
            <pc:sldMk cId="851914168" sldId="1124"/>
            <ac:spMk id="29" creationId="{2C8873F7-E63D-BACE-EED3-E99F91F773F3}"/>
          </ac:spMkLst>
        </pc:spChg>
        <pc:spChg chg="add mod ord">
          <ac:chgData name="Klaudia Gnyla" userId="7fd7bc4b-04b7-46f5-adb4-8d479a07b147" providerId="ADAL" clId="{34B4283B-E526-480A-9AB1-868AB2261910}" dt="2023-01-18T10:58:03.987" v="14909" actId="1036"/>
          <ac:spMkLst>
            <pc:docMk/>
            <pc:sldMk cId="851914168" sldId="1124"/>
            <ac:spMk id="30" creationId="{3FF95B4E-BF07-322E-8710-35CD265E86BB}"/>
          </ac:spMkLst>
        </pc:spChg>
        <pc:picChg chg="add mod">
          <ac:chgData name="Klaudia Gnyla" userId="7fd7bc4b-04b7-46f5-adb4-8d479a07b147" providerId="ADAL" clId="{34B4283B-E526-480A-9AB1-868AB2261910}" dt="2022-12-06T13:33:49.494" v="4396" actId="1076"/>
          <ac:picMkLst>
            <pc:docMk/>
            <pc:sldMk cId="851914168" sldId="1124"/>
            <ac:picMk id="8" creationId="{A7D2029F-31A3-2170-87C6-EE1029D9DF4B}"/>
          </ac:picMkLst>
        </pc:picChg>
        <pc:picChg chg="add mod">
          <ac:chgData name="Klaudia Gnyla" userId="7fd7bc4b-04b7-46f5-adb4-8d479a07b147" providerId="ADAL" clId="{34B4283B-E526-480A-9AB1-868AB2261910}" dt="2022-12-06T13:34:00.055" v="4398" actId="1076"/>
          <ac:picMkLst>
            <pc:docMk/>
            <pc:sldMk cId="851914168" sldId="1124"/>
            <ac:picMk id="9" creationId="{AE079706-C8BA-9D82-1818-8266919DAE1A}"/>
          </ac:picMkLst>
        </pc:picChg>
        <pc:picChg chg="add mod">
          <ac:chgData name="Klaudia Gnyla" userId="7fd7bc4b-04b7-46f5-adb4-8d479a07b147" providerId="ADAL" clId="{34B4283B-E526-480A-9AB1-868AB2261910}" dt="2022-12-06T13:33:53.990" v="4397" actId="1076"/>
          <ac:picMkLst>
            <pc:docMk/>
            <pc:sldMk cId="851914168" sldId="1124"/>
            <ac:picMk id="10" creationId="{E3ADA6DC-CDBA-3750-52C7-A235D8586B8A}"/>
          </ac:picMkLst>
        </pc:picChg>
        <pc:picChg chg="add mod">
          <ac:chgData name="Klaudia Gnyla" userId="7fd7bc4b-04b7-46f5-adb4-8d479a07b147" providerId="ADAL" clId="{34B4283B-E526-480A-9AB1-868AB2261910}" dt="2023-01-04T10:25:25.191" v="12127" actId="1036"/>
          <ac:picMkLst>
            <pc:docMk/>
            <pc:sldMk cId="851914168" sldId="1124"/>
            <ac:picMk id="11" creationId="{3FD804FF-EC8F-8EA3-A16F-B3BA823C75C2}"/>
          </ac:picMkLst>
        </pc:picChg>
        <pc:picChg chg="add mod">
          <ac:chgData name="Klaudia Gnyla" userId="7fd7bc4b-04b7-46f5-adb4-8d479a07b147" providerId="ADAL" clId="{34B4283B-E526-480A-9AB1-868AB2261910}" dt="2022-12-06T13:33:25.198" v="4391" actId="1076"/>
          <ac:picMkLst>
            <pc:docMk/>
            <pc:sldMk cId="851914168" sldId="1124"/>
            <ac:picMk id="12" creationId="{DF8C97AF-027B-39CB-619A-7B94812BC252}"/>
          </ac:picMkLst>
        </pc:picChg>
        <pc:picChg chg="add mod">
          <ac:chgData name="Klaudia Gnyla" userId="7fd7bc4b-04b7-46f5-adb4-8d479a07b147" providerId="ADAL" clId="{34B4283B-E526-480A-9AB1-868AB2261910}" dt="2022-12-06T13:33:31.598" v="4393" actId="1076"/>
          <ac:picMkLst>
            <pc:docMk/>
            <pc:sldMk cId="851914168" sldId="1124"/>
            <ac:picMk id="13" creationId="{23325FDD-4389-678A-5CCF-7EC57FC6E974}"/>
          </ac:picMkLst>
        </pc:picChg>
        <pc:cxnChg chg="add del mod">
          <ac:chgData name="Klaudia Gnyla" userId="7fd7bc4b-04b7-46f5-adb4-8d479a07b147" providerId="ADAL" clId="{34B4283B-E526-480A-9AB1-868AB2261910}" dt="2023-01-11T13:52:57.485" v="13270" actId="478"/>
          <ac:cxnSpMkLst>
            <pc:docMk/>
            <pc:sldMk cId="851914168" sldId="1124"/>
            <ac:cxnSpMk id="4" creationId="{A9DA4C9F-5ED7-85E8-455A-6DE16475A2B0}"/>
          </ac:cxnSpMkLst>
        </pc:cxnChg>
        <pc:cxnChg chg="add mod">
          <ac:chgData name="Klaudia Gnyla" userId="7fd7bc4b-04b7-46f5-adb4-8d479a07b147" providerId="ADAL" clId="{34B4283B-E526-480A-9AB1-868AB2261910}" dt="2023-01-11T12:12:51.328" v="12738" actId="1582"/>
          <ac:cxnSpMkLst>
            <pc:docMk/>
            <pc:sldMk cId="851914168" sldId="1124"/>
            <ac:cxnSpMk id="5" creationId="{1D7B4B56-2458-ECFE-498A-506C19FB6296}"/>
          </ac:cxnSpMkLst>
        </pc:cxnChg>
        <pc:cxnChg chg="add del mod">
          <ac:chgData name="Klaudia Gnyla" userId="7fd7bc4b-04b7-46f5-adb4-8d479a07b147" providerId="ADAL" clId="{34B4283B-E526-480A-9AB1-868AB2261910}" dt="2023-01-11T13:52:55.901" v="13269" actId="478"/>
          <ac:cxnSpMkLst>
            <pc:docMk/>
            <pc:sldMk cId="851914168" sldId="1124"/>
            <ac:cxnSpMk id="15" creationId="{45381A03-4166-19A4-DE54-75850F32BE94}"/>
          </ac:cxnSpMkLst>
        </pc:cxnChg>
        <pc:cxnChg chg="add mod">
          <ac:chgData name="Klaudia Gnyla" userId="7fd7bc4b-04b7-46f5-adb4-8d479a07b147" providerId="ADAL" clId="{34B4283B-E526-480A-9AB1-868AB2261910}" dt="2023-01-11T12:13:20.113" v="12745" actId="1038"/>
          <ac:cxnSpMkLst>
            <pc:docMk/>
            <pc:sldMk cId="851914168" sldId="1124"/>
            <ac:cxnSpMk id="16" creationId="{3504633B-84F5-745A-C6D3-2C8E352BFF6B}"/>
          </ac:cxnSpMkLst>
        </pc:cxnChg>
        <pc:cxnChg chg="add mod">
          <ac:chgData name="Klaudia Gnyla" userId="7fd7bc4b-04b7-46f5-adb4-8d479a07b147" providerId="ADAL" clId="{34B4283B-E526-480A-9AB1-868AB2261910}" dt="2023-01-11T12:13:14.663" v="12744" actId="1036"/>
          <ac:cxnSpMkLst>
            <pc:docMk/>
            <pc:sldMk cId="851914168" sldId="1124"/>
            <ac:cxnSpMk id="17" creationId="{E691FC48-0894-EDF4-5908-DFBB9360CABF}"/>
          </ac:cxnSpMkLst>
        </pc:cxnChg>
      </pc:sldChg>
      <pc:sldChg chg="addSp delSp modSp add del mod ord modCm">
        <pc:chgData name="Klaudia Gnyla" userId="7fd7bc4b-04b7-46f5-adb4-8d479a07b147" providerId="ADAL" clId="{34B4283B-E526-480A-9AB1-868AB2261910}" dt="2023-01-04T09:30:39.809" v="11340" actId="47"/>
        <pc:sldMkLst>
          <pc:docMk/>
          <pc:sldMk cId="795165187" sldId="1125"/>
        </pc:sldMkLst>
        <pc:spChg chg="add mod">
          <ac:chgData name="Klaudia Gnyla" userId="7fd7bc4b-04b7-46f5-adb4-8d479a07b147" providerId="ADAL" clId="{34B4283B-E526-480A-9AB1-868AB2261910}" dt="2022-12-06T13:37:41.677" v="4495" actId="1076"/>
          <ac:spMkLst>
            <pc:docMk/>
            <pc:sldMk cId="795165187" sldId="1125"/>
            <ac:spMk id="2" creationId="{4722FA6B-9D08-7F30-1C74-4FDB63E15023}"/>
          </ac:spMkLst>
        </pc:spChg>
        <pc:spChg chg="add mod">
          <ac:chgData name="Klaudia Gnyla" userId="7fd7bc4b-04b7-46f5-adb4-8d479a07b147" providerId="ADAL" clId="{34B4283B-E526-480A-9AB1-868AB2261910}" dt="2022-12-06T13:46:21.018" v="4793" actId="20577"/>
          <ac:spMkLst>
            <pc:docMk/>
            <pc:sldMk cId="795165187" sldId="1125"/>
            <ac:spMk id="3" creationId="{12988C67-07AD-A0DE-243A-B9C172C162CC}"/>
          </ac:spMkLst>
        </pc:spChg>
        <pc:spChg chg="add mod">
          <ac:chgData name="Klaudia Gnyla" userId="7fd7bc4b-04b7-46f5-adb4-8d479a07b147" providerId="ADAL" clId="{34B4283B-E526-480A-9AB1-868AB2261910}" dt="2022-12-06T13:45:57.502" v="4763" actId="14100"/>
          <ac:spMkLst>
            <pc:docMk/>
            <pc:sldMk cId="795165187" sldId="1125"/>
            <ac:spMk id="5" creationId="{0E58BA5E-800F-6F77-F0D4-90E04DEC3350}"/>
          </ac:spMkLst>
        </pc:spChg>
        <pc:spChg chg="add mod ord">
          <ac:chgData name="Klaudia Gnyla" userId="7fd7bc4b-04b7-46f5-adb4-8d479a07b147" providerId="ADAL" clId="{34B4283B-E526-480A-9AB1-868AB2261910}" dt="2022-12-06T13:44:59.421" v="4725" actId="14100"/>
          <ac:spMkLst>
            <pc:docMk/>
            <pc:sldMk cId="795165187" sldId="1125"/>
            <ac:spMk id="6" creationId="{0B92B859-F958-DB5E-D340-B13DEFF34063}"/>
          </ac:spMkLst>
        </pc:spChg>
        <pc:spChg chg="del">
          <ac:chgData name="Klaudia Gnyla" userId="7fd7bc4b-04b7-46f5-adb4-8d479a07b147" providerId="ADAL" clId="{34B4283B-E526-480A-9AB1-868AB2261910}" dt="2022-12-06T13:34:39.843" v="4404" actId="478"/>
          <ac:spMkLst>
            <pc:docMk/>
            <pc:sldMk cId="795165187" sldId="1125"/>
            <ac:spMk id="14" creationId="{B46FD43B-95E8-0344-9485-DDBB6B61963C}"/>
          </ac:spMkLst>
        </pc:spChg>
        <pc:graphicFrameChg chg="add del mod">
          <ac:chgData name="Klaudia Gnyla" userId="7fd7bc4b-04b7-46f5-adb4-8d479a07b147" providerId="ADAL" clId="{34B4283B-E526-480A-9AB1-868AB2261910}" dt="2023-01-04T08:15:28.823" v="10653" actId="478"/>
          <ac:graphicFrameMkLst>
            <pc:docMk/>
            <pc:sldMk cId="795165187" sldId="1125"/>
            <ac:graphicFrameMk id="4" creationId="{23171FD3-4715-6E8A-9CC0-4A4FBEE4A01C}"/>
          </ac:graphicFrameMkLst>
        </pc:graphicFrameChg>
      </pc:sldChg>
      <pc:sldChg chg="addSp delSp modSp add mod ord">
        <pc:chgData name="Klaudia Gnyla" userId="7fd7bc4b-04b7-46f5-adb4-8d479a07b147" providerId="ADAL" clId="{34B4283B-E526-480A-9AB1-868AB2261910}" dt="2023-01-18T15:17:31.857" v="18080" actId="207"/>
        <pc:sldMkLst>
          <pc:docMk/>
          <pc:sldMk cId="3957391886" sldId="1126"/>
        </pc:sldMkLst>
        <pc:spChg chg="add mod">
          <ac:chgData name="Klaudia Gnyla" userId="7fd7bc4b-04b7-46f5-adb4-8d479a07b147" providerId="ADAL" clId="{34B4283B-E526-480A-9AB1-868AB2261910}" dt="2023-01-18T13:25:34.543" v="16543" actId="1076"/>
          <ac:spMkLst>
            <pc:docMk/>
            <pc:sldMk cId="3957391886" sldId="1126"/>
            <ac:spMk id="2" creationId="{61A86030-D0BF-58E4-4FF3-A703AF4C6799}"/>
          </ac:spMkLst>
        </pc:spChg>
        <pc:spChg chg="add mod">
          <ac:chgData name="Klaudia Gnyla" userId="7fd7bc4b-04b7-46f5-adb4-8d479a07b147" providerId="ADAL" clId="{34B4283B-E526-480A-9AB1-868AB2261910}" dt="2023-01-04T11:37:22.759" v="12247" actId="20577"/>
          <ac:spMkLst>
            <pc:docMk/>
            <pc:sldMk cId="3957391886" sldId="1126"/>
            <ac:spMk id="3" creationId="{D344CD9A-7826-9A8B-B050-1EC535874EE8}"/>
          </ac:spMkLst>
        </pc:spChg>
        <pc:spChg chg="add mod">
          <ac:chgData name="Klaudia Gnyla" userId="7fd7bc4b-04b7-46f5-adb4-8d479a07b147" providerId="ADAL" clId="{34B4283B-E526-480A-9AB1-868AB2261910}" dt="2022-12-06T14:51:14.515" v="5038" actId="20577"/>
          <ac:spMkLst>
            <pc:docMk/>
            <pc:sldMk cId="3957391886" sldId="1126"/>
            <ac:spMk id="4" creationId="{9B19A17C-9972-671D-7329-0A056D18568E}"/>
          </ac:spMkLst>
        </pc:spChg>
        <pc:spChg chg="add del mod">
          <ac:chgData name="Klaudia Gnyla" userId="7fd7bc4b-04b7-46f5-adb4-8d479a07b147" providerId="ADAL" clId="{34B4283B-E526-480A-9AB1-868AB2261910}" dt="2022-12-06T13:54:34.176" v="4997"/>
          <ac:spMkLst>
            <pc:docMk/>
            <pc:sldMk cId="3957391886" sldId="1126"/>
            <ac:spMk id="5" creationId="{3299EAB0-1EDE-3EAC-7A56-CFB59CC476E2}"/>
          </ac:spMkLst>
        </pc:spChg>
        <pc:spChg chg="add mod">
          <ac:chgData name="Klaudia Gnyla" userId="7fd7bc4b-04b7-46f5-adb4-8d479a07b147" providerId="ADAL" clId="{34B4283B-E526-480A-9AB1-868AB2261910}" dt="2023-01-18T13:26:02.187" v="16552" actId="1036"/>
          <ac:spMkLst>
            <pc:docMk/>
            <pc:sldMk cId="3957391886" sldId="1126"/>
            <ac:spMk id="6" creationId="{0F4AC8E9-E9BD-6EA5-C7FD-82B0B40D121B}"/>
          </ac:spMkLst>
        </pc:spChg>
        <pc:spChg chg="add del mod">
          <ac:chgData name="Klaudia Gnyla" userId="7fd7bc4b-04b7-46f5-adb4-8d479a07b147" providerId="ADAL" clId="{34B4283B-E526-480A-9AB1-868AB2261910}" dt="2023-01-18T13:04:10.323" v="16435" actId="478"/>
          <ac:spMkLst>
            <pc:docMk/>
            <pc:sldMk cId="3957391886" sldId="1126"/>
            <ac:spMk id="7" creationId="{FC337A43-455E-604E-0C0F-9CDAD80A1084}"/>
          </ac:spMkLst>
        </pc:spChg>
        <pc:spChg chg="add mod">
          <ac:chgData name="Klaudia Gnyla" userId="7fd7bc4b-04b7-46f5-adb4-8d479a07b147" providerId="ADAL" clId="{34B4283B-E526-480A-9AB1-868AB2261910}" dt="2023-01-18T13:02:58.284" v="16427" actId="1076"/>
          <ac:spMkLst>
            <pc:docMk/>
            <pc:sldMk cId="3957391886" sldId="1126"/>
            <ac:spMk id="8" creationId="{46BD93CF-DFB7-96B6-73BA-66601407BA44}"/>
          </ac:spMkLst>
        </pc:spChg>
        <pc:spChg chg="add mod">
          <ac:chgData name="Klaudia Gnyla" userId="7fd7bc4b-04b7-46f5-adb4-8d479a07b147" providerId="ADAL" clId="{34B4283B-E526-480A-9AB1-868AB2261910}" dt="2023-01-18T13:03:04.319" v="16428" actId="1076"/>
          <ac:spMkLst>
            <pc:docMk/>
            <pc:sldMk cId="3957391886" sldId="1126"/>
            <ac:spMk id="9" creationId="{0B3DA680-172A-6F60-7D5F-58200DF36CB8}"/>
          </ac:spMkLst>
        </pc:spChg>
        <pc:spChg chg="add mod">
          <ac:chgData name="Klaudia Gnyla" userId="7fd7bc4b-04b7-46f5-adb4-8d479a07b147" providerId="ADAL" clId="{34B4283B-E526-480A-9AB1-868AB2261910}" dt="2023-01-18T13:03:36.961" v="16431" actId="1076"/>
          <ac:spMkLst>
            <pc:docMk/>
            <pc:sldMk cId="3957391886" sldId="1126"/>
            <ac:spMk id="11" creationId="{7A2ACC50-F5E0-35D2-C407-7B0EA4606F69}"/>
          </ac:spMkLst>
        </pc:spChg>
        <pc:spChg chg="add mod">
          <ac:chgData name="Klaudia Gnyla" userId="7fd7bc4b-04b7-46f5-adb4-8d479a07b147" providerId="ADAL" clId="{34B4283B-E526-480A-9AB1-868AB2261910}" dt="2023-01-18T15:17:31.857" v="18080" actId="207"/>
          <ac:spMkLst>
            <pc:docMk/>
            <pc:sldMk cId="3957391886" sldId="1126"/>
            <ac:spMk id="12" creationId="{8E402A34-8EF4-336D-734D-4630C29A00F7}"/>
          </ac:spMkLst>
        </pc:spChg>
        <pc:spChg chg="add mod">
          <ac:chgData name="Klaudia Gnyla" userId="7fd7bc4b-04b7-46f5-adb4-8d479a07b147" providerId="ADAL" clId="{34B4283B-E526-480A-9AB1-868AB2261910}" dt="2023-01-18T13:26:55.924" v="16566" actId="20577"/>
          <ac:spMkLst>
            <pc:docMk/>
            <pc:sldMk cId="3957391886" sldId="1126"/>
            <ac:spMk id="15" creationId="{A7157529-585E-BC85-E766-AB41A21C6D83}"/>
          </ac:spMkLst>
        </pc:spChg>
        <pc:picChg chg="add mod">
          <ac:chgData name="Klaudia Gnyla" userId="7fd7bc4b-04b7-46f5-adb4-8d479a07b147" providerId="ADAL" clId="{34B4283B-E526-480A-9AB1-868AB2261910}" dt="2023-01-18T13:03:08.315" v="16429" actId="1076"/>
          <ac:picMkLst>
            <pc:docMk/>
            <pc:sldMk cId="3957391886" sldId="1126"/>
            <ac:picMk id="10" creationId="{33B0B246-CB10-33DD-86C2-D37E5BFA263E}"/>
          </ac:picMkLst>
        </pc:picChg>
        <pc:picChg chg="add mod">
          <ac:chgData name="Klaudia Gnyla" userId="7fd7bc4b-04b7-46f5-adb4-8d479a07b147" providerId="ADAL" clId="{34B4283B-E526-480A-9AB1-868AB2261910}" dt="2023-01-18T13:26:45.365" v="16560" actId="1076"/>
          <ac:picMkLst>
            <pc:docMk/>
            <pc:sldMk cId="3957391886" sldId="1126"/>
            <ac:picMk id="13" creationId="{ADABB10D-9887-05B9-60D2-9FD0961D3D71}"/>
          </ac:picMkLst>
        </pc:picChg>
        <pc:cxnChg chg="add mod">
          <ac:chgData name="Klaudia Gnyla" userId="7fd7bc4b-04b7-46f5-adb4-8d479a07b147" providerId="ADAL" clId="{34B4283B-E526-480A-9AB1-868AB2261910}" dt="2023-01-18T13:26:36.048" v="16559" actId="1582"/>
          <ac:cxnSpMkLst>
            <pc:docMk/>
            <pc:sldMk cId="3957391886" sldId="1126"/>
            <ac:cxnSpMk id="17" creationId="{470C5A2E-CD27-EC2F-C495-C214EC0CE4EE}"/>
          </ac:cxnSpMkLst>
        </pc:cxnChg>
      </pc:sldChg>
      <pc:sldChg chg="addSp delSp modSp add del mod">
        <pc:chgData name="Klaudia Gnyla" userId="7fd7bc4b-04b7-46f5-adb4-8d479a07b147" providerId="ADAL" clId="{34B4283B-E526-480A-9AB1-868AB2261910}" dt="2023-01-04T09:30:22.149" v="11339" actId="47"/>
        <pc:sldMkLst>
          <pc:docMk/>
          <pc:sldMk cId="3967583555" sldId="1127"/>
        </pc:sldMkLst>
        <pc:spChg chg="add mod">
          <ac:chgData name="Klaudia Gnyla" userId="7fd7bc4b-04b7-46f5-adb4-8d479a07b147" providerId="ADAL" clId="{34B4283B-E526-480A-9AB1-868AB2261910}" dt="2022-12-06T13:45:09.472" v="4727"/>
          <ac:spMkLst>
            <pc:docMk/>
            <pc:sldMk cId="3967583555" sldId="1127"/>
            <ac:spMk id="2" creationId="{4E1CA6D0-19E8-B55E-C45C-D76A894892CD}"/>
          </ac:spMkLst>
        </pc:spChg>
        <pc:spChg chg="add mod">
          <ac:chgData name="Klaudia Gnyla" userId="7fd7bc4b-04b7-46f5-adb4-8d479a07b147" providerId="ADAL" clId="{34B4283B-E526-480A-9AB1-868AB2261910}" dt="2022-12-06T14:56:04.471" v="5236" actId="20577"/>
          <ac:spMkLst>
            <pc:docMk/>
            <pc:sldMk cId="3967583555" sldId="1127"/>
            <ac:spMk id="3" creationId="{31B62C1B-DDEC-4F8E-71A8-64A52C9FB239}"/>
          </ac:spMkLst>
        </pc:spChg>
        <pc:spChg chg="add mod">
          <ac:chgData name="Klaudia Gnyla" userId="7fd7bc4b-04b7-46f5-adb4-8d479a07b147" providerId="ADAL" clId="{34B4283B-E526-480A-9AB1-868AB2261910}" dt="2022-12-06T15:02:54.675" v="5334" actId="20577"/>
          <ac:spMkLst>
            <pc:docMk/>
            <pc:sldMk cId="3967583555" sldId="1127"/>
            <ac:spMk id="4" creationId="{6ABF535B-0F90-0363-451A-D97FB70C6E84}"/>
          </ac:spMkLst>
        </pc:spChg>
        <pc:spChg chg="add mod">
          <ac:chgData name="Klaudia Gnyla" userId="7fd7bc4b-04b7-46f5-adb4-8d479a07b147" providerId="ADAL" clId="{34B4283B-E526-480A-9AB1-868AB2261910}" dt="2022-12-06T14:56:28.876" v="5238" actId="2711"/>
          <ac:spMkLst>
            <pc:docMk/>
            <pc:sldMk cId="3967583555" sldId="1127"/>
            <ac:spMk id="5" creationId="{11E7D1B5-BCCD-80CF-8D0B-8E826C6B3498}"/>
          </ac:spMkLst>
        </pc:spChg>
        <pc:spChg chg="add mod">
          <ac:chgData name="Klaudia Gnyla" userId="7fd7bc4b-04b7-46f5-adb4-8d479a07b147" providerId="ADAL" clId="{34B4283B-E526-480A-9AB1-868AB2261910}" dt="2022-12-06T15:02:15.456" v="5240" actId="2711"/>
          <ac:spMkLst>
            <pc:docMk/>
            <pc:sldMk cId="3967583555" sldId="1127"/>
            <ac:spMk id="6" creationId="{9AEBB7FA-8D87-629F-FA5A-3FA3F3AB4051}"/>
          </ac:spMkLst>
        </pc:spChg>
        <pc:spChg chg="add mod">
          <ac:chgData name="Klaudia Gnyla" userId="7fd7bc4b-04b7-46f5-adb4-8d479a07b147" providerId="ADAL" clId="{34B4283B-E526-480A-9AB1-868AB2261910}" dt="2022-12-06T15:04:48.732" v="5348" actId="2711"/>
          <ac:spMkLst>
            <pc:docMk/>
            <pc:sldMk cId="3967583555" sldId="1127"/>
            <ac:spMk id="7" creationId="{1406BB68-914F-FCD0-4BC1-DB5795DF6386}"/>
          </ac:spMkLst>
        </pc:spChg>
        <pc:spChg chg="add mod">
          <ac:chgData name="Klaudia Gnyla" userId="7fd7bc4b-04b7-46f5-adb4-8d479a07b147" providerId="ADAL" clId="{34B4283B-E526-480A-9AB1-868AB2261910}" dt="2022-12-06T15:04:53.282" v="5349" actId="2711"/>
          <ac:spMkLst>
            <pc:docMk/>
            <pc:sldMk cId="3967583555" sldId="1127"/>
            <ac:spMk id="8" creationId="{7321372E-71A5-97AD-4989-F0ED4ADD36AA}"/>
          </ac:spMkLst>
        </pc:spChg>
        <pc:spChg chg="add mod">
          <ac:chgData name="Klaudia Gnyla" userId="7fd7bc4b-04b7-46f5-adb4-8d479a07b147" providerId="ADAL" clId="{34B4283B-E526-480A-9AB1-868AB2261910}" dt="2022-12-06T15:04:58.212" v="5350" actId="2711"/>
          <ac:spMkLst>
            <pc:docMk/>
            <pc:sldMk cId="3967583555" sldId="1127"/>
            <ac:spMk id="9" creationId="{2D0E510A-F066-9400-134E-48D552B93DF9}"/>
          </ac:spMkLst>
        </pc:spChg>
        <pc:spChg chg="add mod">
          <ac:chgData name="Klaudia Gnyla" userId="7fd7bc4b-04b7-46f5-adb4-8d479a07b147" providerId="ADAL" clId="{34B4283B-E526-480A-9AB1-868AB2261910}" dt="2023-01-04T09:02:34.025" v="10781" actId="20577"/>
          <ac:spMkLst>
            <pc:docMk/>
            <pc:sldMk cId="3967583555" sldId="1127"/>
            <ac:spMk id="10" creationId="{D90D57FB-9DEA-DC57-A5B1-DDB81D0E1E3B}"/>
          </ac:spMkLst>
        </pc:spChg>
        <pc:spChg chg="add mod">
          <ac:chgData name="Klaudia Gnyla" userId="7fd7bc4b-04b7-46f5-adb4-8d479a07b147" providerId="ADAL" clId="{34B4283B-E526-480A-9AB1-868AB2261910}" dt="2022-12-06T15:05:07.366" v="5352" actId="2711"/>
          <ac:spMkLst>
            <pc:docMk/>
            <pc:sldMk cId="3967583555" sldId="1127"/>
            <ac:spMk id="11" creationId="{F0F2E0D0-13FC-6945-882F-17B181A28BED}"/>
          </ac:spMkLst>
        </pc:spChg>
        <pc:spChg chg="add mod">
          <ac:chgData name="Klaudia Gnyla" userId="7fd7bc4b-04b7-46f5-adb4-8d479a07b147" providerId="ADAL" clId="{34B4283B-E526-480A-9AB1-868AB2261910}" dt="2022-12-06T15:05:11.732" v="5353" actId="2711"/>
          <ac:spMkLst>
            <pc:docMk/>
            <pc:sldMk cId="3967583555" sldId="1127"/>
            <ac:spMk id="12" creationId="{8B9ADE46-D3D3-E277-A5AF-A6B8681EAF19}"/>
          </ac:spMkLst>
        </pc:spChg>
        <pc:spChg chg="add mod">
          <ac:chgData name="Klaudia Gnyla" userId="7fd7bc4b-04b7-46f5-adb4-8d479a07b147" providerId="ADAL" clId="{34B4283B-E526-480A-9AB1-868AB2261910}" dt="2022-12-06T15:05:17.196" v="5354" actId="2711"/>
          <ac:spMkLst>
            <pc:docMk/>
            <pc:sldMk cId="3967583555" sldId="1127"/>
            <ac:spMk id="13" creationId="{75775AFD-6652-8239-F5BD-C6A156C6FB72}"/>
          </ac:spMkLst>
        </pc:spChg>
        <pc:spChg chg="add mod">
          <ac:chgData name="Klaudia Gnyla" userId="7fd7bc4b-04b7-46f5-adb4-8d479a07b147" providerId="ADAL" clId="{34B4283B-E526-480A-9AB1-868AB2261910}" dt="2023-01-04T09:02:58.783" v="10808" actId="20577"/>
          <ac:spMkLst>
            <pc:docMk/>
            <pc:sldMk cId="3967583555" sldId="1127"/>
            <ac:spMk id="15" creationId="{9A53C370-205D-6105-FE38-87BB4E66B063}"/>
          </ac:spMkLst>
        </pc:spChg>
        <pc:spChg chg="add mod">
          <ac:chgData name="Klaudia Gnyla" userId="7fd7bc4b-04b7-46f5-adb4-8d479a07b147" providerId="ADAL" clId="{34B4283B-E526-480A-9AB1-868AB2261910}" dt="2022-12-06T15:08:49.894" v="5471" actId="20577"/>
          <ac:spMkLst>
            <pc:docMk/>
            <pc:sldMk cId="3967583555" sldId="1127"/>
            <ac:spMk id="16" creationId="{30870948-E0FD-B217-B76A-948E7F322E77}"/>
          </ac:spMkLst>
        </pc:spChg>
        <pc:picChg chg="add del mod">
          <ac:chgData name="Klaudia Gnyla" userId="7fd7bc4b-04b7-46f5-adb4-8d479a07b147" providerId="ADAL" clId="{34B4283B-E526-480A-9AB1-868AB2261910}" dt="2022-12-06T15:07:12.020" v="5384" actId="478"/>
          <ac:picMkLst>
            <pc:docMk/>
            <pc:sldMk cId="3967583555" sldId="1127"/>
            <ac:picMk id="17" creationId="{4C754759-C524-3F7C-1D7F-4C53B7696E9E}"/>
          </ac:picMkLst>
        </pc:picChg>
        <pc:inkChg chg="add mod">
          <ac:chgData name="Klaudia Gnyla" userId="7fd7bc4b-04b7-46f5-adb4-8d479a07b147" providerId="ADAL" clId="{34B4283B-E526-480A-9AB1-868AB2261910}" dt="2022-12-06T15:05:59.284" v="5372" actId="1076"/>
          <ac:inkMkLst>
            <pc:docMk/>
            <pc:sldMk cId="3967583555" sldId="1127"/>
            <ac:inkMk id="18" creationId="{FEDF015A-86FE-F6C4-356E-DBD9D4B25C19}"/>
          </ac:inkMkLst>
        </pc:inkChg>
        <pc:inkChg chg="add mod">
          <ac:chgData name="Klaudia Gnyla" userId="7fd7bc4b-04b7-46f5-adb4-8d479a07b147" providerId="ADAL" clId="{34B4283B-E526-480A-9AB1-868AB2261910}" dt="2022-12-06T15:05:43.338" v="5370" actId="1076"/>
          <ac:inkMkLst>
            <pc:docMk/>
            <pc:sldMk cId="3967583555" sldId="1127"/>
            <ac:inkMk id="19" creationId="{68FD24C3-5FD2-350F-5C89-D02043081B51}"/>
          </ac:inkMkLst>
        </pc:inkChg>
        <pc:inkChg chg="add mod">
          <ac:chgData name="Klaudia Gnyla" userId="7fd7bc4b-04b7-46f5-adb4-8d479a07b147" providerId="ADAL" clId="{34B4283B-E526-480A-9AB1-868AB2261910}" dt="2022-12-06T15:05:55.143" v="5371" actId="1076"/>
          <ac:inkMkLst>
            <pc:docMk/>
            <pc:sldMk cId="3967583555" sldId="1127"/>
            <ac:inkMk id="20" creationId="{EF70ADB3-213C-E047-2703-BED200B8BD90}"/>
          </ac:inkMkLst>
        </pc:inkChg>
        <pc:inkChg chg="add mod">
          <ac:chgData name="Klaudia Gnyla" userId="7fd7bc4b-04b7-46f5-adb4-8d479a07b147" providerId="ADAL" clId="{34B4283B-E526-480A-9AB1-868AB2261910}" dt="2022-12-06T15:06:09.331" v="5373" actId="1076"/>
          <ac:inkMkLst>
            <pc:docMk/>
            <pc:sldMk cId="3967583555" sldId="1127"/>
            <ac:inkMk id="21" creationId="{6A8FCE69-5A28-E532-FDC0-ADA385650AC5}"/>
          </ac:inkMkLst>
        </pc:inkChg>
        <pc:inkChg chg="add mod">
          <ac:chgData name="Klaudia Gnyla" userId="7fd7bc4b-04b7-46f5-adb4-8d479a07b147" providerId="ADAL" clId="{34B4283B-E526-480A-9AB1-868AB2261910}" dt="2022-12-06T15:06:18.567" v="5374" actId="1076"/>
          <ac:inkMkLst>
            <pc:docMk/>
            <pc:sldMk cId="3967583555" sldId="1127"/>
            <ac:inkMk id="22" creationId="{F7AB6C34-48D7-C08A-D5D5-B75B8ABED538}"/>
          </ac:inkMkLst>
        </pc:inkChg>
        <pc:inkChg chg="add mod">
          <ac:chgData name="Klaudia Gnyla" userId="7fd7bc4b-04b7-46f5-adb4-8d479a07b147" providerId="ADAL" clId="{34B4283B-E526-480A-9AB1-868AB2261910}" dt="2022-12-06T15:06:22.410" v="5375" actId="1076"/>
          <ac:inkMkLst>
            <pc:docMk/>
            <pc:sldMk cId="3967583555" sldId="1127"/>
            <ac:inkMk id="23" creationId="{0038FD21-5C21-1726-495C-6596AE54318A}"/>
          </ac:inkMkLst>
        </pc:inkChg>
        <pc:inkChg chg="add mod">
          <ac:chgData name="Klaudia Gnyla" userId="7fd7bc4b-04b7-46f5-adb4-8d479a07b147" providerId="ADAL" clId="{34B4283B-E526-480A-9AB1-868AB2261910}" dt="2022-12-06T15:06:28.279" v="5376" actId="1076"/>
          <ac:inkMkLst>
            <pc:docMk/>
            <pc:sldMk cId="3967583555" sldId="1127"/>
            <ac:inkMk id="24" creationId="{1441AB6C-CC5C-6F1B-CB32-8D781D578C97}"/>
          </ac:inkMkLst>
        </pc:inkChg>
        <pc:inkChg chg="add mod">
          <ac:chgData name="Klaudia Gnyla" userId="7fd7bc4b-04b7-46f5-adb4-8d479a07b147" providerId="ADAL" clId="{34B4283B-E526-480A-9AB1-868AB2261910}" dt="2022-12-06T15:06:35.492" v="5377" actId="1076"/>
          <ac:inkMkLst>
            <pc:docMk/>
            <pc:sldMk cId="3967583555" sldId="1127"/>
            <ac:inkMk id="25" creationId="{EFAFB284-ACBF-A8DA-0EA5-BCF2AF934460}"/>
          </ac:inkMkLst>
        </pc:inkChg>
        <pc:inkChg chg="add mod">
          <ac:chgData name="Klaudia Gnyla" userId="7fd7bc4b-04b7-46f5-adb4-8d479a07b147" providerId="ADAL" clId="{34B4283B-E526-480A-9AB1-868AB2261910}" dt="2022-12-06T15:06:41.270" v="5378" actId="1076"/>
          <ac:inkMkLst>
            <pc:docMk/>
            <pc:sldMk cId="3967583555" sldId="1127"/>
            <ac:inkMk id="26" creationId="{B9417503-1827-1FCA-19E6-CF8FD9B30E39}"/>
          </ac:inkMkLst>
        </pc:inkChg>
        <pc:inkChg chg="add mod">
          <ac:chgData name="Klaudia Gnyla" userId="7fd7bc4b-04b7-46f5-adb4-8d479a07b147" providerId="ADAL" clId="{34B4283B-E526-480A-9AB1-868AB2261910}" dt="2022-12-06T15:06:48.999" v="5379" actId="1076"/>
          <ac:inkMkLst>
            <pc:docMk/>
            <pc:sldMk cId="3967583555" sldId="1127"/>
            <ac:inkMk id="27" creationId="{98486930-39D6-F970-D6B2-81ADE733620D}"/>
          </ac:inkMkLst>
        </pc:inkChg>
        <pc:inkChg chg="add del mod">
          <ac:chgData name="Klaudia Gnyla" userId="7fd7bc4b-04b7-46f5-adb4-8d479a07b147" providerId="ADAL" clId="{34B4283B-E526-480A-9AB1-868AB2261910}" dt="2022-12-06T15:06:51.483" v="5380" actId="478"/>
          <ac:inkMkLst>
            <pc:docMk/>
            <pc:sldMk cId="3967583555" sldId="1127"/>
            <ac:inkMk id="28" creationId="{FF82C9F4-B01D-7DBC-38A0-3846E0E89678}"/>
          </ac:inkMkLst>
        </pc:inkChg>
        <pc:inkChg chg="add del mod">
          <ac:chgData name="Klaudia Gnyla" userId="7fd7bc4b-04b7-46f5-adb4-8d479a07b147" providerId="ADAL" clId="{34B4283B-E526-480A-9AB1-868AB2261910}" dt="2022-12-06T15:06:53.020" v="5381" actId="478"/>
          <ac:inkMkLst>
            <pc:docMk/>
            <pc:sldMk cId="3967583555" sldId="1127"/>
            <ac:inkMk id="29" creationId="{9666E0D9-143B-775F-D97D-45DFE73C8964}"/>
          </ac:inkMkLst>
        </pc:inkChg>
        <pc:inkChg chg="add del mod">
          <ac:chgData name="Klaudia Gnyla" userId="7fd7bc4b-04b7-46f5-adb4-8d479a07b147" providerId="ADAL" clId="{34B4283B-E526-480A-9AB1-868AB2261910}" dt="2022-12-06T15:06:55.028" v="5382" actId="478"/>
          <ac:inkMkLst>
            <pc:docMk/>
            <pc:sldMk cId="3967583555" sldId="1127"/>
            <ac:inkMk id="30" creationId="{9EE8E631-6526-A499-8763-DB9F645CC3AF}"/>
          </ac:inkMkLst>
        </pc:inkChg>
      </pc:sldChg>
      <pc:sldChg chg="addSp delSp modSp add mod ord delCm modCm">
        <pc:chgData name="Klaudia Gnyla" userId="7fd7bc4b-04b7-46f5-adb4-8d479a07b147" providerId="ADAL" clId="{34B4283B-E526-480A-9AB1-868AB2261910}" dt="2023-01-19T12:55:49.990" v="19950" actId="20577"/>
        <pc:sldMkLst>
          <pc:docMk/>
          <pc:sldMk cId="3578681514" sldId="1128"/>
        </pc:sldMkLst>
        <pc:spChg chg="add mod">
          <ac:chgData name="Klaudia Gnyla" userId="7fd7bc4b-04b7-46f5-adb4-8d479a07b147" providerId="ADAL" clId="{34B4283B-E526-480A-9AB1-868AB2261910}" dt="2022-12-06T13:45:11.640" v="4728"/>
          <ac:spMkLst>
            <pc:docMk/>
            <pc:sldMk cId="3578681514" sldId="1128"/>
            <ac:spMk id="2" creationId="{4CA7B33E-A761-8B17-C8B0-98CD0B1247C7}"/>
          </ac:spMkLst>
        </pc:spChg>
        <pc:spChg chg="add mod">
          <ac:chgData name="Klaudia Gnyla" userId="7fd7bc4b-04b7-46f5-adb4-8d479a07b147" providerId="ADAL" clId="{34B4283B-E526-480A-9AB1-868AB2261910}" dt="2023-01-04T11:37:35.206" v="12251" actId="20577"/>
          <ac:spMkLst>
            <pc:docMk/>
            <pc:sldMk cId="3578681514" sldId="1128"/>
            <ac:spMk id="3" creationId="{45D7F91B-1C46-C670-3160-71A9E2A3314E}"/>
          </ac:spMkLst>
        </pc:spChg>
        <pc:spChg chg="add mod">
          <ac:chgData name="Klaudia Gnyla" userId="7fd7bc4b-04b7-46f5-adb4-8d479a07b147" providerId="ADAL" clId="{34B4283B-E526-480A-9AB1-868AB2261910}" dt="2023-01-04T09:08:48.781" v="11022" actId="20577"/>
          <ac:spMkLst>
            <pc:docMk/>
            <pc:sldMk cId="3578681514" sldId="1128"/>
            <ac:spMk id="4" creationId="{CA470BCB-7D67-6ACD-DC79-AF867ACD7F59}"/>
          </ac:spMkLst>
        </pc:spChg>
        <pc:spChg chg="add mod">
          <ac:chgData name="Klaudia Gnyla" userId="7fd7bc4b-04b7-46f5-adb4-8d479a07b147" providerId="ADAL" clId="{34B4283B-E526-480A-9AB1-868AB2261910}" dt="2023-01-19T12:55:49.990" v="19950" actId="20577"/>
          <ac:spMkLst>
            <pc:docMk/>
            <pc:sldMk cId="3578681514" sldId="1128"/>
            <ac:spMk id="5" creationId="{5C19FD7E-210B-B0D0-797D-453A1FE903BE}"/>
          </ac:spMkLst>
        </pc:spChg>
        <pc:spChg chg="add mod">
          <ac:chgData name="Klaudia Gnyla" userId="7fd7bc4b-04b7-46f5-adb4-8d479a07b147" providerId="ADAL" clId="{34B4283B-E526-480A-9AB1-868AB2261910}" dt="2023-01-18T15:17:20.007" v="18078" actId="1038"/>
          <ac:spMkLst>
            <pc:docMk/>
            <pc:sldMk cId="3578681514" sldId="1128"/>
            <ac:spMk id="6" creationId="{5F983847-DAB7-C911-AF37-F6655A64CF14}"/>
          </ac:spMkLst>
        </pc:spChg>
        <pc:picChg chg="add del mod">
          <ac:chgData name="Klaudia Gnyla" userId="7fd7bc4b-04b7-46f5-adb4-8d479a07b147" providerId="ADAL" clId="{34B4283B-E526-480A-9AB1-868AB2261910}" dt="2022-12-07T10:02:14.418" v="9020" actId="478"/>
          <ac:picMkLst>
            <pc:docMk/>
            <pc:sldMk cId="3578681514" sldId="1128"/>
            <ac:picMk id="5" creationId="{78B3981F-854E-C8CD-DB15-513788FE7F1E}"/>
          </ac:picMkLst>
        </pc:picChg>
        <pc:picChg chg="add mod">
          <ac:chgData name="Klaudia Gnyla" userId="7fd7bc4b-04b7-46f5-adb4-8d479a07b147" providerId="ADAL" clId="{34B4283B-E526-480A-9AB1-868AB2261910}" dt="2023-01-04T09:09:06.487" v="11129" actId="1037"/>
          <ac:picMkLst>
            <pc:docMk/>
            <pc:sldMk cId="3578681514" sldId="1128"/>
            <ac:picMk id="5122" creationId="{D5E712E4-1777-EBC7-7C66-46E228435A82}"/>
          </ac:picMkLst>
        </pc:picChg>
      </pc:sldChg>
      <pc:sldChg chg="addSp delSp modSp add mod ord delCm">
        <pc:chgData name="Klaudia Gnyla" userId="7fd7bc4b-04b7-46f5-adb4-8d479a07b147" providerId="ADAL" clId="{34B4283B-E526-480A-9AB1-868AB2261910}" dt="2023-01-19T13:48:11.980" v="20332" actId="1036"/>
        <pc:sldMkLst>
          <pc:docMk/>
          <pc:sldMk cId="530088360" sldId="1129"/>
        </pc:sldMkLst>
        <pc:spChg chg="add mod">
          <ac:chgData name="Klaudia Gnyla" userId="7fd7bc4b-04b7-46f5-adb4-8d479a07b147" providerId="ADAL" clId="{34B4283B-E526-480A-9AB1-868AB2261910}" dt="2022-12-07T09:58:50.821" v="9018" actId="1076"/>
          <ac:spMkLst>
            <pc:docMk/>
            <pc:sldMk cId="530088360" sldId="1129"/>
            <ac:spMk id="2" creationId="{30CBFDE3-B4F0-46BC-2A3A-5FAD59D767D3}"/>
          </ac:spMkLst>
        </pc:spChg>
        <pc:spChg chg="add mod">
          <ac:chgData name="Klaudia Gnyla" userId="7fd7bc4b-04b7-46f5-adb4-8d479a07b147" providerId="ADAL" clId="{34B4283B-E526-480A-9AB1-868AB2261910}" dt="2023-01-04T11:37:11.526" v="12245" actId="20577"/>
          <ac:spMkLst>
            <pc:docMk/>
            <pc:sldMk cId="530088360" sldId="1129"/>
            <ac:spMk id="3" creationId="{1A77710A-A401-614D-FF25-9539C18269CB}"/>
          </ac:spMkLst>
        </pc:spChg>
        <pc:spChg chg="add mod">
          <ac:chgData name="Klaudia Gnyla" userId="7fd7bc4b-04b7-46f5-adb4-8d479a07b147" providerId="ADAL" clId="{34B4283B-E526-480A-9AB1-868AB2261910}" dt="2023-01-04T08:50:46.841" v="10776" actId="20577"/>
          <ac:spMkLst>
            <pc:docMk/>
            <pc:sldMk cId="530088360" sldId="1129"/>
            <ac:spMk id="4" creationId="{B1518704-604F-F441-062F-07042F46943A}"/>
          </ac:spMkLst>
        </pc:spChg>
        <pc:spChg chg="add del mod">
          <ac:chgData name="Klaudia Gnyla" userId="7fd7bc4b-04b7-46f5-adb4-8d479a07b147" providerId="ADAL" clId="{34B4283B-E526-480A-9AB1-868AB2261910}" dt="2022-12-06T15:17:00.116" v="5666" actId="478"/>
          <ac:spMkLst>
            <pc:docMk/>
            <pc:sldMk cId="530088360" sldId="1129"/>
            <ac:spMk id="5" creationId="{A3C2E5EC-B057-6A91-352A-06E78C81B649}"/>
          </ac:spMkLst>
        </pc:spChg>
        <pc:spChg chg="add mod">
          <ac:chgData name="Klaudia Gnyla" userId="7fd7bc4b-04b7-46f5-adb4-8d479a07b147" providerId="ADAL" clId="{34B4283B-E526-480A-9AB1-868AB2261910}" dt="2023-01-18T15:17:41.124" v="18081" actId="207"/>
          <ac:spMkLst>
            <pc:docMk/>
            <pc:sldMk cId="530088360" sldId="1129"/>
            <ac:spMk id="7" creationId="{3312C849-0DD7-CB15-4D17-80B706654024}"/>
          </ac:spMkLst>
        </pc:spChg>
        <pc:spChg chg="add mod">
          <ac:chgData name="Klaudia Gnyla" userId="7fd7bc4b-04b7-46f5-adb4-8d479a07b147" providerId="ADAL" clId="{34B4283B-E526-480A-9AB1-868AB2261910}" dt="2023-01-19T13:48:11.980" v="20332" actId="1036"/>
          <ac:spMkLst>
            <pc:docMk/>
            <pc:sldMk cId="530088360" sldId="1129"/>
            <ac:spMk id="11" creationId="{7B3B0394-944A-0B80-89C3-175A60299F30}"/>
          </ac:spMkLst>
        </pc:spChg>
        <pc:spChg chg="add del mod">
          <ac:chgData name="Klaudia Gnyla" userId="7fd7bc4b-04b7-46f5-adb4-8d479a07b147" providerId="ADAL" clId="{34B4283B-E526-480A-9AB1-868AB2261910}" dt="2023-01-04T09:52:12.679" v="11441" actId="478"/>
          <ac:spMkLst>
            <pc:docMk/>
            <pc:sldMk cId="530088360" sldId="1129"/>
            <ac:spMk id="22" creationId="{7EC69C73-8642-2DBA-1B56-5F63F43BEA3F}"/>
          </ac:spMkLst>
        </pc:spChg>
        <pc:graphicFrameChg chg="add del mod">
          <ac:chgData name="Klaudia Gnyla" userId="7fd7bc4b-04b7-46f5-adb4-8d479a07b147" providerId="ADAL" clId="{34B4283B-E526-480A-9AB1-868AB2261910}" dt="2023-01-11T13:43:22.454" v="12849"/>
          <ac:graphicFrameMkLst>
            <pc:docMk/>
            <pc:sldMk cId="530088360" sldId="1129"/>
            <ac:graphicFrameMk id="5" creationId="{01A16498-BB4D-60D2-E32B-FD707247E52F}"/>
          </ac:graphicFrameMkLst>
        </pc:graphicFrameChg>
        <pc:graphicFrameChg chg="add mod modGraphic">
          <ac:chgData name="Klaudia Gnyla" userId="7fd7bc4b-04b7-46f5-adb4-8d479a07b147" providerId="ADAL" clId="{34B4283B-E526-480A-9AB1-868AB2261910}" dt="2023-01-19T11:01:22.047" v="18247" actId="14734"/>
          <ac:graphicFrameMkLst>
            <pc:docMk/>
            <pc:sldMk cId="530088360" sldId="1129"/>
            <ac:graphicFrameMk id="6" creationId="{0A275E00-2895-6E0B-9527-671EA4341328}"/>
          </ac:graphicFrameMkLst>
        </pc:graphicFrameChg>
        <pc:graphicFrameChg chg="add del mod">
          <ac:chgData name="Klaudia Gnyla" userId="7fd7bc4b-04b7-46f5-adb4-8d479a07b147" providerId="ADAL" clId="{34B4283B-E526-480A-9AB1-868AB2261910}" dt="2022-12-06T15:25:17.379" v="6010"/>
          <ac:graphicFrameMkLst>
            <pc:docMk/>
            <pc:sldMk cId="530088360" sldId="1129"/>
            <ac:graphicFrameMk id="8" creationId="{071FC040-741A-AB9F-E587-70EA9449A303}"/>
          </ac:graphicFrameMkLst>
        </pc:graphicFrameChg>
        <pc:graphicFrameChg chg="add del mod">
          <ac:chgData name="Klaudia Gnyla" userId="7fd7bc4b-04b7-46f5-adb4-8d479a07b147" providerId="ADAL" clId="{34B4283B-E526-480A-9AB1-868AB2261910}" dt="2023-01-11T13:47:46.531" v="12857"/>
          <ac:graphicFrameMkLst>
            <pc:docMk/>
            <pc:sldMk cId="530088360" sldId="1129"/>
            <ac:graphicFrameMk id="8" creationId="{85C884D5-EB4F-0140-199E-1F793DE31992}"/>
          </ac:graphicFrameMkLst>
        </pc:graphicFrameChg>
        <pc:graphicFrameChg chg="add mod modGraphic">
          <ac:chgData name="Klaudia Gnyla" userId="7fd7bc4b-04b7-46f5-adb4-8d479a07b147" providerId="ADAL" clId="{34B4283B-E526-480A-9AB1-868AB2261910}" dt="2023-01-19T11:00:43.129" v="18206" actId="14100"/>
          <ac:graphicFrameMkLst>
            <pc:docMk/>
            <pc:sldMk cId="530088360" sldId="1129"/>
            <ac:graphicFrameMk id="9" creationId="{6E8DECE0-61D4-9F64-1CF2-F2CED09CF501}"/>
          </ac:graphicFrameMkLst>
        </pc:graphicFrameChg>
        <pc:cxnChg chg="add mod">
          <ac:chgData name="Klaudia Gnyla" userId="7fd7bc4b-04b7-46f5-adb4-8d479a07b147" providerId="ADAL" clId="{34B4283B-E526-480A-9AB1-868AB2261910}" dt="2023-01-19T11:00:53.649" v="18235" actId="1036"/>
          <ac:cxnSpMkLst>
            <pc:docMk/>
            <pc:sldMk cId="530088360" sldId="1129"/>
            <ac:cxnSpMk id="5" creationId="{A9FB6DE4-5C96-ABC9-B45F-A7CC6692E7F6}"/>
          </ac:cxnSpMkLst>
        </pc:cxnChg>
        <pc:cxnChg chg="add del mod">
          <ac:chgData name="Klaudia Gnyla" userId="7fd7bc4b-04b7-46f5-adb4-8d479a07b147" providerId="ADAL" clId="{34B4283B-E526-480A-9AB1-868AB2261910}" dt="2022-12-06T15:29:53.988" v="6085" actId="478"/>
          <ac:cxnSpMkLst>
            <pc:docMk/>
            <pc:sldMk cId="530088360" sldId="1129"/>
            <ac:cxnSpMk id="10" creationId="{6DA8944F-3A47-A29C-3FBE-A48D807220C3}"/>
          </ac:cxnSpMkLst>
        </pc:cxnChg>
        <pc:cxnChg chg="add mod">
          <ac:chgData name="Klaudia Gnyla" userId="7fd7bc4b-04b7-46f5-adb4-8d479a07b147" providerId="ADAL" clId="{34B4283B-E526-480A-9AB1-868AB2261910}" dt="2023-01-19T11:01:00.401" v="18241" actId="1036"/>
          <ac:cxnSpMkLst>
            <pc:docMk/>
            <pc:sldMk cId="530088360" sldId="1129"/>
            <ac:cxnSpMk id="12" creationId="{7DBDE7E8-847B-2065-2BF1-EBDFF4E9BAC3}"/>
          </ac:cxnSpMkLst>
        </pc:cxnChg>
        <pc:cxnChg chg="add mod">
          <ac:chgData name="Klaudia Gnyla" userId="7fd7bc4b-04b7-46f5-adb4-8d479a07b147" providerId="ADAL" clId="{34B4283B-E526-480A-9AB1-868AB2261910}" dt="2023-01-19T13:48:06.201" v="20310" actId="1036"/>
          <ac:cxnSpMkLst>
            <pc:docMk/>
            <pc:sldMk cId="530088360" sldId="1129"/>
            <ac:cxnSpMk id="13" creationId="{D26BE14E-775B-BFBC-999B-7198FB9CC3D4}"/>
          </ac:cxnSpMkLst>
        </pc:cxnChg>
        <pc:cxnChg chg="add del mod">
          <ac:chgData name="Klaudia Gnyla" userId="7fd7bc4b-04b7-46f5-adb4-8d479a07b147" providerId="ADAL" clId="{34B4283B-E526-480A-9AB1-868AB2261910}" dt="2023-01-19T11:01:10.154" v="18245" actId="478"/>
          <ac:cxnSpMkLst>
            <pc:docMk/>
            <pc:sldMk cId="530088360" sldId="1129"/>
            <ac:cxnSpMk id="15" creationId="{2C938AE7-135F-43E1-C93B-D072E8FF139A}"/>
          </ac:cxnSpMkLst>
        </pc:cxnChg>
        <pc:cxnChg chg="add mod">
          <ac:chgData name="Klaudia Gnyla" userId="7fd7bc4b-04b7-46f5-adb4-8d479a07b147" providerId="ADAL" clId="{34B4283B-E526-480A-9AB1-868AB2261910}" dt="2023-01-19T11:00:57.710" v="18239" actId="1035"/>
          <ac:cxnSpMkLst>
            <pc:docMk/>
            <pc:sldMk cId="530088360" sldId="1129"/>
            <ac:cxnSpMk id="16" creationId="{D8438D2D-7B97-56E8-C05C-61D4ECF7AE31}"/>
          </ac:cxnSpMkLst>
        </pc:cxnChg>
        <pc:cxnChg chg="add mod">
          <ac:chgData name="Klaudia Gnyla" userId="7fd7bc4b-04b7-46f5-adb4-8d479a07b147" providerId="ADAL" clId="{34B4283B-E526-480A-9AB1-868AB2261910}" dt="2023-01-19T11:01:04.959" v="18244" actId="1036"/>
          <ac:cxnSpMkLst>
            <pc:docMk/>
            <pc:sldMk cId="530088360" sldId="1129"/>
            <ac:cxnSpMk id="17" creationId="{348C5528-B41D-E406-4DC6-3C2D76256BC4}"/>
          </ac:cxnSpMkLst>
        </pc:cxnChg>
        <pc:cxnChg chg="add mod">
          <ac:chgData name="Klaudia Gnyla" userId="7fd7bc4b-04b7-46f5-adb4-8d479a07b147" providerId="ADAL" clId="{34B4283B-E526-480A-9AB1-868AB2261910}" dt="2023-01-19T11:00:35.160" v="18205" actId="1076"/>
          <ac:cxnSpMkLst>
            <pc:docMk/>
            <pc:sldMk cId="530088360" sldId="1129"/>
            <ac:cxnSpMk id="18" creationId="{C93DEE58-09C4-FAB4-73B1-1A0E8105E685}"/>
          </ac:cxnSpMkLst>
        </pc:cxnChg>
        <pc:cxnChg chg="add del mod">
          <ac:chgData name="Klaudia Gnyla" userId="7fd7bc4b-04b7-46f5-adb4-8d479a07b147" providerId="ADAL" clId="{34B4283B-E526-480A-9AB1-868AB2261910}" dt="2023-01-04T09:52:15.054" v="11442" actId="478"/>
          <ac:cxnSpMkLst>
            <pc:docMk/>
            <pc:sldMk cId="530088360" sldId="1129"/>
            <ac:cxnSpMk id="19" creationId="{030AFE40-3EFB-73CE-53BB-E33B9BC9D4E9}"/>
          </ac:cxnSpMkLst>
        </pc:cxnChg>
      </pc:sldChg>
      <pc:sldChg chg="addSp delSp modSp add mod ord delCm modCm">
        <pc:chgData name="Klaudia Gnyla" userId="7fd7bc4b-04b7-46f5-adb4-8d479a07b147" providerId="ADAL" clId="{34B4283B-E526-480A-9AB1-868AB2261910}" dt="2023-01-19T11:18:40.528" v="18472"/>
        <pc:sldMkLst>
          <pc:docMk/>
          <pc:sldMk cId="1184138871" sldId="1130"/>
        </pc:sldMkLst>
        <pc:spChg chg="add mod">
          <ac:chgData name="Klaudia Gnyla" userId="7fd7bc4b-04b7-46f5-adb4-8d479a07b147" providerId="ADAL" clId="{34B4283B-E526-480A-9AB1-868AB2261910}" dt="2023-01-04T11:37:28.730" v="12249" actId="20577"/>
          <ac:spMkLst>
            <pc:docMk/>
            <pc:sldMk cId="1184138871" sldId="1130"/>
            <ac:spMk id="2" creationId="{68EB8FCA-D168-C700-CA49-DDDC48F39BE2}"/>
          </ac:spMkLst>
        </pc:spChg>
        <pc:spChg chg="add mod">
          <ac:chgData name="Klaudia Gnyla" userId="7fd7bc4b-04b7-46f5-adb4-8d479a07b147" providerId="ADAL" clId="{34B4283B-E526-480A-9AB1-868AB2261910}" dt="2022-12-06T15:40:10.168" v="6317" actId="20577"/>
          <ac:spMkLst>
            <pc:docMk/>
            <pc:sldMk cId="1184138871" sldId="1130"/>
            <ac:spMk id="3" creationId="{545DFA43-58DE-365E-6245-F15E5329F840}"/>
          </ac:spMkLst>
        </pc:spChg>
        <pc:spChg chg="add mod ord">
          <ac:chgData name="Klaudia Gnyla" userId="7fd7bc4b-04b7-46f5-adb4-8d479a07b147" providerId="ADAL" clId="{34B4283B-E526-480A-9AB1-868AB2261910}" dt="2022-12-06T15:36:22.514" v="6140" actId="167"/>
          <ac:spMkLst>
            <pc:docMk/>
            <pc:sldMk cId="1184138871" sldId="1130"/>
            <ac:spMk id="4" creationId="{9BDB15DF-0A8A-0698-A171-60D5E834C558}"/>
          </ac:spMkLst>
        </pc:spChg>
        <pc:spChg chg="add mod">
          <ac:chgData name="Klaudia Gnyla" userId="7fd7bc4b-04b7-46f5-adb4-8d479a07b147" providerId="ADAL" clId="{34B4283B-E526-480A-9AB1-868AB2261910}" dt="2023-01-19T11:15:46.742" v="18470" actId="1037"/>
          <ac:spMkLst>
            <pc:docMk/>
            <pc:sldMk cId="1184138871" sldId="1130"/>
            <ac:spMk id="5" creationId="{99BE06D7-B43C-C3EE-AFE9-CC30816B978F}"/>
          </ac:spMkLst>
        </pc:spChg>
        <pc:spChg chg="add mod">
          <ac:chgData name="Klaudia Gnyla" userId="7fd7bc4b-04b7-46f5-adb4-8d479a07b147" providerId="ADAL" clId="{34B4283B-E526-480A-9AB1-868AB2261910}" dt="2023-01-18T11:41:33.779" v="14941" actId="1076"/>
          <ac:spMkLst>
            <pc:docMk/>
            <pc:sldMk cId="1184138871" sldId="1130"/>
            <ac:spMk id="7" creationId="{1141C7B1-8A49-CB43-936C-A5FB85BE2F24}"/>
          </ac:spMkLst>
        </pc:spChg>
        <pc:spChg chg="add del mod">
          <ac:chgData name="Klaudia Gnyla" userId="7fd7bc4b-04b7-46f5-adb4-8d479a07b147" providerId="ADAL" clId="{34B4283B-E526-480A-9AB1-868AB2261910}" dt="2023-01-04T09:55:34.496" v="11518" actId="478"/>
          <ac:spMkLst>
            <pc:docMk/>
            <pc:sldMk cId="1184138871" sldId="1130"/>
            <ac:spMk id="8" creationId="{2748F9B9-F395-1134-36F2-5E053C5B43A1}"/>
          </ac:spMkLst>
        </pc:spChg>
        <pc:spChg chg="add mod">
          <ac:chgData name="Klaudia Gnyla" userId="7fd7bc4b-04b7-46f5-adb4-8d479a07b147" providerId="ADAL" clId="{34B4283B-E526-480A-9AB1-868AB2261910}" dt="2023-01-18T15:17:25.085" v="18079" actId="207"/>
          <ac:spMkLst>
            <pc:docMk/>
            <pc:sldMk cId="1184138871" sldId="1130"/>
            <ac:spMk id="9" creationId="{B605D20C-3E87-38E5-8DE5-144D142C55B2}"/>
          </ac:spMkLst>
        </pc:spChg>
        <pc:graphicFrameChg chg="add mod">
          <ac:chgData name="Klaudia Gnyla" userId="7fd7bc4b-04b7-46f5-adb4-8d479a07b147" providerId="ADAL" clId="{34B4283B-E526-480A-9AB1-868AB2261910}" dt="2023-01-19T11:14:34.196" v="18368" actId="1076"/>
          <ac:graphicFrameMkLst>
            <pc:docMk/>
            <pc:sldMk cId="1184138871" sldId="1130"/>
            <ac:graphicFrameMk id="8" creationId="{1403280E-E6BF-0C30-9D72-5221CC9137BE}"/>
          </ac:graphicFrameMkLst>
        </pc:graphicFrameChg>
        <pc:picChg chg="add del mod">
          <ac:chgData name="Klaudia Gnyla" userId="7fd7bc4b-04b7-46f5-adb4-8d479a07b147" providerId="ADAL" clId="{34B4283B-E526-480A-9AB1-868AB2261910}" dt="2023-01-13T13:32:48.795" v="13273" actId="478"/>
          <ac:picMkLst>
            <pc:docMk/>
            <pc:sldMk cId="1184138871" sldId="1130"/>
            <ac:picMk id="6" creationId="{384961E8-F816-CF56-0D72-3500E68A0987}"/>
          </ac:picMkLst>
        </pc:picChg>
      </pc:sldChg>
      <pc:sldChg chg="addSp delSp modSp add mod ord">
        <pc:chgData name="Klaudia Gnyla" userId="7fd7bc4b-04b7-46f5-adb4-8d479a07b147" providerId="ADAL" clId="{34B4283B-E526-480A-9AB1-868AB2261910}" dt="2023-01-19T11:30:46.059" v="18507" actId="255"/>
        <pc:sldMkLst>
          <pc:docMk/>
          <pc:sldMk cId="2476394828" sldId="1131"/>
        </pc:sldMkLst>
        <pc:spChg chg="add mod ord">
          <ac:chgData name="Klaudia Gnyla" userId="7fd7bc4b-04b7-46f5-adb4-8d479a07b147" providerId="ADAL" clId="{34B4283B-E526-480A-9AB1-868AB2261910}" dt="2022-12-06T15:36:34.489" v="6144" actId="167"/>
          <ac:spMkLst>
            <pc:docMk/>
            <pc:sldMk cId="2476394828" sldId="1131"/>
            <ac:spMk id="2" creationId="{9DD84714-2D17-3B61-07F4-00ECCDF31C73}"/>
          </ac:spMkLst>
        </pc:spChg>
        <pc:spChg chg="add mod">
          <ac:chgData name="Klaudia Gnyla" userId="7fd7bc4b-04b7-46f5-adb4-8d479a07b147" providerId="ADAL" clId="{34B4283B-E526-480A-9AB1-868AB2261910}" dt="2023-01-04T11:37:48.094" v="12255" actId="20577"/>
          <ac:spMkLst>
            <pc:docMk/>
            <pc:sldMk cId="2476394828" sldId="1131"/>
            <ac:spMk id="3" creationId="{472316E8-5D10-7370-94AF-9D7CA8F364C4}"/>
          </ac:spMkLst>
        </pc:spChg>
        <pc:spChg chg="add mod">
          <ac:chgData name="Klaudia Gnyla" userId="7fd7bc4b-04b7-46f5-adb4-8d479a07b147" providerId="ADAL" clId="{34B4283B-E526-480A-9AB1-868AB2261910}" dt="2023-01-18T14:37:44.516" v="17546" actId="20577"/>
          <ac:spMkLst>
            <pc:docMk/>
            <pc:sldMk cId="2476394828" sldId="1131"/>
            <ac:spMk id="4" creationId="{25A1C5BC-C18D-5C03-5E25-70F108B3CFD4}"/>
          </ac:spMkLst>
        </pc:spChg>
        <pc:spChg chg="add mod">
          <ac:chgData name="Klaudia Gnyla" userId="7fd7bc4b-04b7-46f5-adb4-8d479a07b147" providerId="ADAL" clId="{34B4283B-E526-480A-9AB1-868AB2261910}" dt="2023-01-18T15:16:25.692" v="18041" actId="207"/>
          <ac:spMkLst>
            <pc:docMk/>
            <pc:sldMk cId="2476394828" sldId="1131"/>
            <ac:spMk id="5" creationId="{1F159DCB-F4A4-9189-EA99-1D6F303C8F25}"/>
          </ac:spMkLst>
        </pc:spChg>
        <pc:spChg chg="add mod">
          <ac:chgData name="Klaudia Gnyla" userId="7fd7bc4b-04b7-46f5-adb4-8d479a07b147" providerId="ADAL" clId="{34B4283B-E526-480A-9AB1-868AB2261910}" dt="2022-12-07T09:50:02.985" v="8950" actId="20577"/>
          <ac:spMkLst>
            <pc:docMk/>
            <pc:sldMk cId="2476394828" sldId="1131"/>
            <ac:spMk id="9" creationId="{8C7EACC8-272F-52F6-83E9-441F9EB347EF}"/>
          </ac:spMkLst>
        </pc:spChg>
        <pc:spChg chg="add mod">
          <ac:chgData name="Klaudia Gnyla" userId="7fd7bc4b-04b7-46f5-adb4-8d479a07b147" providerId="ADAL" clId="{34B4283B-E526-480A-9AB1-868AB2261910}" dt="2022-12-07T09:50:01.278" v="8949" actId="20577"/>
          <ac:spMkLst>
            <pc:docMk/>
            <pc:sldMk cId="2476394828" sldId="1131"/>
            <ac:spMk id="10" creationId="{FBBF313C-63E5-69B7-8237-7A023460108C}"/>
          </ac:spMkLst>
        </pc:spChg>
        <pc:spChg chg="add mod">
          <ac:chgData name="Klaudia Gnyla" userId="7fd7bc4b-04b7-46f5-adb4-8d479a07b147" providerId="ADAL" clId="{34B4283B-E526-480A-9AB1-868AB2261910}" dt="2023-01-19T11:30:46.059" v="18507" actId="255"/>
          <ac:spMkLst>
            <pc:docMk/>
            <pc:sldMk cId="2476394828" sldId="1131"/>
            <ac:spMk id="13" creationId="{A31F89D5-0F47-FC1A-DE09-14B7B498B2DC}"/>
          </ac:spMkLst>
        </pc:spChg>
        <pc:spChg chg="add mod">
          <ac:chgData name="Klaudia Gnyla" userId="7fd7bc4b-04b7-46f5-adb4-8d479a07b147" providerId="ADAL" clId="{34B4283B-E526-480A-9AB1-868AB2261910}" dt="2023-01-19T11:30:40.065" v="18506" actId="255"/>
          <ac:spMkLst>
            <pc:docMk/>
            <pc:sldMk cId="2476394828" sldId="1131"/>
            <ac:spMk id="18" creationId="{E678476F-3E14-3093-D6A6-AFD00D8F45FE}"/>
          </ac:spMkLst>
        </pc:spChg>
        <pc:spChg chg="add mod">
          <ac:chgData name="Klaudia Gnyla" userId="7fd7bc4b-04b7-46f5-adb4-8d479a07b147" providerId="ADAL" clId="{34B4283B-E526-480A-9AB1-868AB2261910}" dt="2023-01-19T11:30:32.863" v="18505" actId="255"/>
          <ac:spMkLst>
            <pc:docMk/>
            <pc:sldMk cId="2476394828" sldId="1131"/>
            <ac:spMk id="19" creationId="{265DC409-2AA1-D623-985E-58BE41549588}"/>
          </ac:spMkLst>
        </pc:spChg>
        <pc:picChg chg="add mod">
          <ac:chgData name="Klaudia Gnyla" userId="7fd7bc4b-04b7-46f5-adb4-8d479a07b147" providerId="ADAL" clId="{34B4283B-E526-480A-9AB1-868AB2261910}" dt="2022-12-07T08:07:00.851" v="6756" actId="1076"/>
          <ac:picMkLst>
            <pc:docMk/>
            <pc:sldMk cId="2476394828" sldId="1131"/>
            <ac:picMk id="6" creationId="{3F8A59CA-A172-2108-9439-FEF10C0A4989}"/>
          </ac:picMkLst>
        </pc:picChg>
        <pc:picChg chg="add mod">
          <ac:chgData name="Klaudia Gnyla" userId="7fd7bc4b-04b7-46f5-adb4-8d479a07b147" providerId="ADAL" clId="{34B4283B-E526-480A-9AB1-868AB2261910}" dt="2022-12-07T08:07:16.459" v="6759" actId="14100"/>
          <ac:picMkLst>
            <pc:docMk/>
            <pc:sldMk cId="2476394828" sldId="1131"/>
            <ac:picMk id="7" creationId="{ED489F64-8C93-2D2A-18FC-E776F226B84D}"/>
          </ac:picMkLst>
        </pc:picChg>
        <pc:picChg chg="add del mod">
          <ac:chgData name="Klaudia Gnyla" userId="7fd7bc4b-04b7-46f5-adb4-8d479a07b147" providerId="ADAL" clId="{34B4283B-E526-480A-9AB1-868AB2261910}" dt="2022-12-07T08:08:21.166" v="6761"/>
          <ac:picMkLst>
            <pc:docMk/>
            <pc:sldMk cId="2476394828" sldId="1131"/>
            <ac:picMk id="8" creationId="{D0481543-3C21-1BA7-5ED6-1C53C27DB39E}"/>
          </ac:picMkLst>
        </pc:picChg>
        <pc:inkChg chg="add del mod">
          <ac:chgData name="Klaudia Gnyla" userId="7fd7bc4b-04b7-46f5-adb4-8d479a07b147" providerId="ADAL" clId="{34B4283B-E526-480A-9AB1-868AB2261910}" dt="2023-01-19T11:24:29.080" v="18486" actId="478"/>
          <ac:inkMkLst>
            <pc:docMk/>
            <pc:sldMk cId="2476394828" sldId="1131"/>
            <ac:inkMk id="20" creationId="{E80C7B73-889C-46C1-4B98-941AE614072C}"/>
          </ac:inkMkLst>
        </pc:inkChg>
        <pc:inkChg chg="add del mod">
          <ac:chgData name="Klaudia Gnyla" userId="7fd7bc4b-04b7-46f5-adb4-8d479a07b147" providerId="ADAL" clId="{34B4283B-E526-480A-9AB1-868AB2261910}" dt="2023-01-19T11:24:31.993" v="18487" actId="478"/>
          <ac:inkMkLst>
            <pc:docMk/>
            <pc:sldMk cId="2476394828" sldId="1131"/>
            <ac:inkMk id="21" creationId="{F9BA7B54-634C-0AF1-21ED-9F4D4342735B}"/>
          </ac:inkMkLst>
        </pc:inkChg>
        <pc:inkChg chg="add del mod">
          <ac:chgData name="Klaudia Gnyla" userId="7fd7bc4b-04b7-46f5-adb4-8d479a07b147" providerId="ADAL" clId="{34B4283B-E526-480A-9AB1-868AB2261910}" dt="2023-01-19T11:24:34.020" v="18488" actId="478"/>
          <ac:inkMkLst>
            <pc:docMk/>
            <pc:sldMk cId="2476394828" sldId="1131"/>
            <ac:inkMk id="22" creationId="{B6F44C4F-55F4-5E25-D1CD-A69EA4FF382A}"/>
          </ac:inkMkLst>
        </pc:inkChg>
        <pc:cxnChg chg="add del mod">
          <ac:chgData name="Klaudia Gnyla" userId="7fd7bc4b-04b7-46f5-adb4-8d479a07b147" providerId="ADAL" clId="{34B4283B-E526-480A-9AB1-868AB2261910}" dt="2022-12-07T08:10:39.842" v="6777" actId="478"/>
          <ac:cxnSpMkLst>
            <pc:docMk/>
            <pc:sldMk cId="2476394828" sldId="1131"/>
            <ac:cxnSpMk id="12" creationId="{120C294B-BF38-DB66-8B65-8824DACDC821}"/>
          </ac:cxnSpMkLst>
        </pc:cxnChg>
        <pc:cxnChg chg="add mod">
          <ac:chgData name="Klaudia Gnyla" userId="7fd7bc4b-04b7-46f5-adb4-8d479a07b147" providerId="ADAL" clId="{34B4283B-E526-480A-9AB1-868AB2261910}" dt="2023-01-11T10:05:08.577" v="12693" actId="14100"/>
          <ac:cxnSpMkLst>
            <pc:docMk/>
            <pc:sldMk cId="2476394828" sldId="1131"/>
            <ac:cxnSpMk id="16" creationId="{429C1FCE-B39E-6940-EB38-6C805EBC949E}"/>
          </ac:cxnSpMkLst>
        </pc:cxnChg>
      </pc:sldChg>
      <pc:sldChg chg="del">
        <pc:chgData name="Klaudia Gnyla" userId="7fd7bc4b-04b7-46f5-adb4-8d479a07b147" providerId="ADAL" clId="{34B4283B-E526-480A-9AB1-868AB2261910}" dt="2022-12-05T13:23:58.930" v="102" actId="2696"/>
        <pc:sldMkLst>
          <pc:docMk/>
          <pc:sldMk cId="3288424123" sldId="1131"/>
        </pc:sldMkLst>
      </pc:sldChg>
      <pc:sldChg chg="del">
        <pc:chgData name="Klaudia Gnyla" userId="7fd7bc4b-04b7-46f5-adb4-8d479a07b147" providerId="ADAL" clId="{34B4283B-E526-480A-9AB1-868AB2261910}" dt="2022-12-05T13:24:03.859" v="104" actId="2696"/>
        <pc:sldMkLst>
          <pc:docMk/>
          <pc:sldMk cId="699050858" sldId="1132"/>
        </pc:sldMkLst>
      </pc:sldChg>
      <pc:sldChg chg="addSp modSp add mod">
        <pc:chgData name="Klaudia Gnyla" userId="7fd7bc4b-04b7-46f5-adb4-8d479a07b147" providerId="ADAL" clId="{34B4283B-E526-480A-9AB1-868AB2261910}" dt="2023-01-18T15:16:21.592" v="18040" actId="207"/>
        <pc:sldMkLst>
          <pc:docMk/>
          <pc:sldMk cId="1462060823" sldId="1132"/>
        </pc:sldMkLst>
        <pc:spChg chg="add mod ord">
          <ac:chgData name="Klaudia Gnyla" userId="7fd7bc4b-04b7-46f5-adb4-8d479a07b147" providerId="ADAL" clId="{34B4283B-E526-480A-9AB1-868AB2261910}" dt="2022-12-06T15:36:38.725" v="6146" actId="167"/>
          <ac:spMkLst>
            <pc:docMk/>
            <pc:sldMk cId="1462060823" sldId="1132"/>
            <ac:spMk id="2" creationId="{2775EB34-9B5A-6D11-B978-DD708B4F83E5}"/>
          </ac:spMkLst>
        </pc:spChg>
        <pc:spChg chg="add mod">
          <ac:chgData name="Klaudia Gnyla" userId="7fd7bc4b-04b7-46f5-adb4-8d479a07b147" providerId="ADAL" clId="{34B4283B-E526-480A-9AB1-868AB2261910}" dt="2023-01-04T11:37:52.292" v="12257" actId="20577"/>
          <ac:spMkLst>
            <pc:docMk/>
            <pc:sldMk cId="1462060823" sldId="1132"/>
            <ac:spMk id="3" creationId="{657A8D7C-1AF5-0F54-9CDE-489796C06146}"/>
          </ac:spMkLst>
        </pc:spChg>
        <pc:spChg chg="add mod">
          <ac:chgData name="Klaudia Gnyla" userId="7fd7bc4b-04b7-46f5-adb4-8d479a07b147" providerId="ADAL" clId="{34B4283B-E526-480A-9AB1-868AB2261910}" dt="2022-12-07T08:28:44.920" v="7117" actId="20577"/>
          <ac:spMkLst>
            <pc:docMk/>
            <pc:sldMk cId="1462060823" sldId="1132"/>
            <ac:spMk id="4" creationId="{E3AA7DA8-E1D9-BFA6-9902-4D67C548D005}"/>
          </ac:spMkLst>
        </pc:spChg>
        <pc:spChg chg="add mod">
          <ac:chgData name="Klaudia Gnyla" userId="7fd7bc4b-04b7-46f5-adb4-8d479a07b147" providerId="ADAL" clId="{34B4283B-E526-480A-9AB1-868AB2261910}" dt="2022-12-07T09:50:12.767" v="8953" actId="20577"/>
          <ac:spMkLst>
            <pc:docMk/>
            <pc:sldMk cId="1462060823" sldId="1132"/>
            <ac:spMk id="9" creationId="{FA40FE0E-6EDD-0522-C5C4-729168539FBD}"/>
          </ac:spMkLst>
        </pc:spChg>
        <pc:spChg chg="add mod">
          <ac:chgData name="Klaudia Gnyla" userId="7fd7bc4b-04b7-46f5-adb4-8d479a07b147" providerId="ADAL" clId="{34B4283B-E526-480A-9AB1-868AB2261910}" dt="2023-01-18T15:16:21.592" v="18040" actId="207"/>
          <ac:spMkLst>
            <pc:docMk/>
            <pc:sldMk cId="1462060823" sldId="1132"/>
            <ac:spMk id="10" creationId="{3CED1838-E4F9-4834-3D71-F464733F9E72}"/>
          </ac:spMkLst>
        </pc:spChg>
        <pc:picChg chg="add mod">
          <ac:chgData name="Klaudia Gnyla" userId="7fd7bc4b-04b7-46f5-adb4-8d479a07b147" providerId="ADAL" clId="{34B4283B-E526-480A-9AB1-868AB2261910}" dt="2022-12-07T08:29:00.095" v="7119" actId="1076"/>
          <ac:picMkLst>
            <pc:docMk/>
            <pc:sldMk cId="1462060823" sldId="1132"/>
            <ac:picMk id="5" creationId="{E1146A0C-FA2C-8410-734B-50EE9A560940}"/>
          </ac:picMkLst>
        </pc:picChg>
        <pc:picChg chg="add mod">
          <ac:chgData name="Klaudia Gnyla" userId="7fd7bc4b-04b7-46f5-adb4-8d479a07b147" providerId="ADAL" clId="{34B4283B-E526-480A-9AB1-868AB2261910}" dt="2022-12-07T08:29:08.572" v="7121" actId="14100"/>
          <ac:picMkLst>
            <pc:docMk/>
            <pc:sldMk cId="1462060823" sldId="1132"/>
            <ac:picMk id="6" creationId="{9950C42E-4537-72D0-A560-386392FFC917}"/>
          </ac:picMkLst>
        </pc:picChg>
        <pc:picChg chg="add mod">
          <ac:chgData name="Klaudia Gnyla" userId="7fd7bc4b-04b7-46f5-adb4-8d479a07b147" providerId="ADAL" clId="{34B4283B-E526-480A-9AB1-868AB2261910}" dt="2022-12-07T08:27:46.706" v="7060" actId="1076"/>
          <ac:picMkLst>
            <pc:docMk/>
            <pc:sldMk cId="1462060823" sldId="1132"/>
            <ac:picMk id="7" creationId="{494CCCDD-E5EF-70B2-D474-889CFB3FED29}"/>
          </ac:picMkLst>
        </pc:picChg>
        <pc:picChg chg="add mod">
          <ac:chgData name="Klaudia Gnyla" userId="7fd7bc4b-04b7-46f5-adb4-8d479a07b147" providerId="ADAL" clId="{34B4283B-E526-480A-9AB1-868AB2261910}" dt="2023-01-11T10:05:19.087" v="12694" actId="14100"/>
          <ac:picMkLst>
            <pc:docMk/>
            <pc:sldMk cId="1462060823" sldId="1132"/>
            <ac:picMk id="8" creationId="{793601C3-74B1-85A9-CD5F-EB9190B9F4B8}"/>
          </ac:picMkLst>
        </pc:picChg>
      </pc:sldChg>
      <pc:sldChg chg="addSp delSp modSp add mod ord">
        <pc:chgData name="Klaudia Gnyla" userId="7fd7bc4b-04b7-46f5-adb4-8d479a07b147" providerId="ADAL" clId="{34B4283B-E526-480A-9AB1-868AB2261910}" dt="2023-01-18T15:17:08.900" v="18063" actId="1036"/>
        <pc:sldMkLst>
          <pc:docMk/>
          <pc:sldMk cId="2814064962" sldId="1133"/>
        </pc:sldMkLst>
        <pc:spChg chg="add mod ord">
          <ac:chgData name="Klaudia Gnyla" userId="7fd7bc4b-04b7-46f5-adb4-8d479a07b147" providerId="ADAL" clId="{34B4283B-E526-480A-9AB1-868AB2261910}" dt="2022-12-07T08:37:06.064" v="7246" actId="1076"/>
          <ac:spMkLst>
            <pc:docMk/>
            <pc:sldMk cId="2814064962" sldId="1133"/>
            <ac:spMk id="2" creationId="{7FBC768D-F6C7-4561-3500-2CCEB081B422}"/>
          </ac:spMkLst>
        </pc:spChg>
        <pc:spChg chg="add mod">
          <ac:chgData name="Klaudia Gnyla" userId="7fd7bc4b-04b7-46f5-adb4-8d479a07b147" providerId="ADAL" clId="{34B4283B-E526-480A-9AB1-868AB2261910}" dt="2023-01-04T11:44:35.203" v="12386" actId="20577"/>
          <ac:spMkLst>
            <pc:docMk/>
            <pc:sldMk cId="2814064962" sldId="1133"/>
            <ac:spMk id="3" creationId="{AC68FB16-4CA5-084A-48B7-677A25B54D1F}"/>
          </ac:spMkLst>
        </pc:spChg>
        <pc:spChg chg="add mod">
          <ac:chgData name="Klaudia Gnyla" userId="7fd7bc4b-04b7-46f5-adb4-8d479a07b147" providerId="ADAL" clId="{34B4283B-E526-480A-9AB1-868AB2261910}" dt="2023-01-18T15:17:08.900" v="18063" actId="1036"/>
          <ac:spMkLst>
            <pc:docMk/>
            <pc:sldMk cId="2814064962" sldId="1133"/>
            <ac:spMk id="4" creationId="{5945D143-297A-4E28-6780-B7F03998C4EF}"/>
          </ac:spMkLst>
        </pc:spChg>
        <pc:spChg chg="add mod">
          <ac:chgData name="Klaudia Gnyla" userId="7fd7bc4b-04b7-46f5-adb4-8d479a07b147" providerId="ADAL" clId="{34B4283B-E526-480A-9AB1-868AB2261910}" dt="2022-12-07T08:32:05.430" v="7203" actId="20577"/>
          <ac:spMkLst>
            <pc:docMk/>
            <pc:sldMk cId="2814064962" sldId="1133"/>
            <ac:spMk id="5" creationId="{5DB21010-1941-556B-D95A-6F10FA1F7F2C}"/>
          </ac:spMkLst>
        </pc:spChg>
        <pc:spChg chg="add mod">
          <ac:chgData name="Klaudia Gnyla" userId="7fd7bc4b-04b7-46f5-adb4-8d479a07b147" providerId="ADAL" clId="{34B4283B-E526-480A-9AB1-868AB2261910}" dt="2022-12-07T08:35:13.635" v="7223" actId="1076"/>
          <ac:spMkLst>
            <pc:docMk/>
            <pc:sldMk cId="2814064962" sldId="1133"/>
            <ac:spMk id="9" creationId="{9DB182D2-698D-4AEE-F08A-6B75127F2FD1}"/>
          </ac:spMkLst>
        </pc:spChg>
        <pc:spChg chg="add mod">
          <ac:chgData name="Klaudia Gnyla" userId="7fd7bc4b-04b7-46f5-adb4-8d479a07b147" providerId="ADAL" clId="{34B4283B-E526-480A-9AB1-868AB2261910}" dt="2022-12-07T09:50:19.292" v="8954" actId="20577"/>
          <ac:spMkLst>
            <pc:docMk/>
            <pc:sldMk cId="2814064962" sldId="1133"/>
            <ac:spMk id="10" creationId="{5C64B4A6-96E3-88A6-700A-624658FD734C}"/>
          </ac:spMkLst>
        </pc:spChg>
        <pc:spChg chg="add mod">
          <ac:chgData name="Klaudia Gnyla" userId="7fd7bc4b-04b7-46f5-adb4-8d479a07b147" providerId="ADAL" clId="{34B4283B-E526-480A-9AB1-868AB2261910}" dt="2022-12-07T09:50:21.238" v="8955" actId="20577"/>
          <ac:spMkLst>
            <pc:docMk/>
            <pc:sldMk cId="2814064962" sldId="1133"/>
            <ac:spMk id="11" creationId="{CD70660D-9A01-8723-3046-CFB532454A11}"/>
          </ac:spMkLst>
        </pc:spChg>
        <pc:spChg chg="add mod">
          <ac:chgData name="Klaudia Gnyla" userId="7fd7bc4b-04b7-46f5-adb4-8d479a07b147" providerId="ADAL" clId="{34B4283B-E526-480A-9AB1-868AB2261910}" dt="2022-12-07T09:50:23.983" v="8956" actId="20577"/>
          <ac:spMkLst>
            <pc:docMk/>
            <pc:sldMk cId="2814064962" sldId="1133"/>
            <ac:spMk id="12" creationId="{833EDFA6-FF7A-EC33-F858-07A57474FCC5}"/>
          </ac:spMkLst>
        </pc:spChg>
        <pc:spChg chg="add mod">
          <ac:chgData name="Klaudia Gnyla" userId="7fd7bc4b-04b7-46f5-adb4-8d479a07b147" providerId="ADAL" clId="{34B4283B-E526-480A-9AB1-868AB2261910}" dt="2022-12-07T09:50:25.742" v="8957" actId="20577"/>
          <ac:spMkLst>
            <pc:docMk/>
            <pc:sldMk cId="2814064962" sldId="1133"/>
            <ac:spMk id="13" creationId="{A5043344-79E8-33DA-A299-2B9F190A6E5E}"/>
          </ac:spMkLst>
        </pc:spChg>
        <pc:picChg chg="add del mod">
          <ac:chgData name="Klaudia Gnyla" userId="7fd7bc4b-04b7-46f5-adb4-8d479a07b147" providerId="ADAL" clId="{34B4283B-E526-480A-9AB1-868AB2261910}" dt="2022-12-07T08:33:40.067" v="7211" actId="478"/>
          <ac:picMkLst>
            <pc:docMk/>
            <pc:sldMk cId="2814064962" sldId="1133"/>
            <ac:picMk id="4" creationId="{42620841-8270-50EA-1244-B64C0E3C5F5D}"/>
          </ac:picMkLst>
        </pc:picChg>
        <pc:picChg chg="add del mod">
          <ac:chgData name="Klaudia Gnyla" userId="7fd7bc4b-04b7-46f5-adb4-8d479a07b147" providerId="ADAL" clId="{34B4283B-E526-480A-9AB1-868AB2261910}" dt="2022-12-07T08:34:05.961" v="7215" actId="478"/>
          <ac:picMkLst>
            <pc:docMk/>
            <pc:sldMk cId="2814064962" sldId="1133"/>
            <ac:picMk id="6" creationId="{1A5129C1-C860-92B9-81DD-A44EAFB5B63D}"/>
          </ac:picMkLst>
        </pc:picChg>
        <pc:picChg chg="add mod">
          <ac:chgData name="Klaudia Gnyla" userId="7fd7bc4b-04b7-46f5-adb4-8d479a07b147" providerId="ADAL" clId="{34B4283B-E526-480A-9AB1-868AB2261910}" dt="2022-12-07T08:33:47.852" v="7213" actId="14100"/>
          <ac:picMkLst>
            <pc:docMk/>
            <pc:sldMk cId="2814064962" sldId="1133"/>
            <ac:picMk id="8" creationId="{C0720C66-6C23-0754-E7F3-CF9FCD759AD8}"/>
          </ac:picMkLst>
        </pc:picChg>
        <pc:picChg chg="add mod">
          <ac:chgData name="Klaudia Gnyla" userId="7fd7bc4b-04b7-46f5-adb4-8d479a07b147" providerId="ADAL" clId="{34B4283B-E526-480A-9AB1-868AB2261910}" dt="2022-12-07T08:34:30.136" v="7218" actId="1076"/>
          <ac:picMkLst>
            <pc:docMk/>
            <pc:sldMk cId="2814064962" sldId="1133"/>
            <ac:picMk id="1026" creationId="{5FCB83C4-581F-F133-2B95-73C4545A4198}"/>
          </ac:picMkLst>
        </pc:picChg>
      </pc:sldChg>
      <pc:sldChg chg="addSp modSp add mod delCm">
        <pc:chgData name="Klaudia Gnyla" userId="7fd7bc4b-04b7-46f5-adb4-8d479a07b147" providerId="ADAL" clId="{34B4283B-E526-480A-9AB1-868AB2261910}" dt="2023-01-18T15:16:13.896" v="18039" actId="207"/>
        <pc:sldMkLst>
          <pc:docMk/>
          <pc:sldMk cId="959709447" sldId="1134"/>
        </pc:sldMkLst>
        <pc:spChg chg="add mod ord">
          <ac:chgData name="Klaudia Gnyla" userId="7fd7bc4b-04b7-46f5-adb4-8d479a07b147" providerId="ADAL" clId="{34B4283B-E526-480A-9AB1-868AB2261910}" dt="2022-12-06T15:36:46.985" v="6150" actId="167"/>
          <ac:spMkLst>
            <pc:docMk/>
            <pc:sldMk cId="959709447" sldId="1134"/>
            <ac:spMk id="2" creationId="{EC839332-B2E9-8420-21B3-F60D2A648300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4" creationId="{3EE2FCD0-8E17-E673-7EAA-DECF60F736C6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5" creationId="{7D7F118D-B0D0-F49D-1838-A66F97497550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6" creationId="{3D42C146-D780-A3AC-814E-D31A8456572A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7" creationId="{34BF47A3-923B-F8D9-CBF6-0C4CA8A1A18B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8" creationId="{34A89E65-EEC4-C538-92D3-3834475BBCD8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9" creationId="{E6AA7079-706E-9C94-250C-6AAE7AC2863E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10" creationId="{081D6CD4-7985-D3B5-EB84-DE26B1E7C139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11" creationId="{E2859C28-E9B5-57B2-A0AC-7348EC0F780E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12" creationId="{FE5C47CA-7FD6-A2A1-D1D7-6F2DCB970C75}"/>
          </ac:spMkLst>
        </pc:spChg>
        <pc:spChg chg="add mod">
          <ac:chgData name="Klaudia Gnyla" userId="7fd7bc4b-04b7-46f5-adb4-8d479a07b147" providerId="ADAL" clId="{34B4283B-E526-480A-9AB1-868AB2261910}" dt="2022-12-07T09:50:41.498" v="8958" actId="20577"/>
          <ac:spMkLst>
            <pc:docMk/>
            <pc:sldMk cId="959709447" sldId="1134"/>
            <ac:spMk id="13" creationId="{A1515BFA-77B5-C3DB-DF61-08CB4DDB18E3}"/>
          </ac:spMkLst>
        </pc:spChg>
        <pc:spChg chg="add mod">
          <ac:chgData name="Klaudia Gnyla" userId="7fd7bc4b-04b7-46f5-adb4-8d479a07b147" providerId="ADAL" clId="{34B4283B-E526-480A-9AB1-868AB2261910}" dt="2022-12-07T09:50:43.504" v="8959" actId="20577"/>
          <ac:spMkLst>
            <pc:docMk/>
            <pc:sldMk cId="959709447" sldId="1134"/>
            <ac:spMk id="15" creationId="{CE45111A-293E-4876-C0DF-DFBF8A9348DE}"/>
          </ac:spMkLst>
        </pc:spChg>
        <pc:spChg chg="add mod">
          <ac:chgData name="Klaudia Gnyla" userId="7fd7bc4b-04b7-46f5-adb4-8d479a07b147" providerId="ADAL" clId="{34B4283B-E526-480A-9AB1-868AB2261910}" dt="2022-12-07T08:45:22.989" v="7412" actId="1076"/>
          <ac:spMkLst>
            <pc:docMk/>
            <pc:sldMk cId="959709447" sldId="1134"/>
            <ac:spMk id="16" creationId="{237EC374-15C6-BF66-FDB8-14D948C2A36A}"/>
          </ac:spMkLst>
        </pc:spChg>
        <pc:spChg chg="add mod">
          <ac:chgData name="Klaudia Gnyla" userId="7fd7bc4b-04b7-46f5-adb4-8d479a07b147" providerId="ADAL" clId="{34B4283B-E526-480A-9AB1-868AB2261910}" dt="2022-12-07T09:50:46.200" v="8960" actId="20577"/>
          <ac:spMkLst>
            <pc:docMk/>
            <pc:sldMk cId="959709447" sldId="1134"/>
            <ac:spMk id="17" creationId="{626AA969-1AC8-4701-1D22-9E64A7AF92CC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18" creationId="{BC7A0DD9-3F94-A2B3-1E5B-BA495FE1C1C2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19" creationId="{E7FD49C9-731D-3A77-5CD0-F20C8D020FF1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20" creationId="{2ADA5EE7-3DF8-DA24-D1B7-55D3F49AE99D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21" creationId="{581C3FB4-4183-ADF7-BC2C-0C3EB60627E3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22" creationId="{0385EAF9-8AB3-DA39-72E6-4FF182667814}"/>
          </ac:spMkLst>
        </pc:spChg>
        <pc:spChg chg="add mod">
          <ac:chgData name="Klaudia Gnyla" userId="7fd7bc4b-04b7-46f5-adb4-8d479a07b147" providerId="ADAL" clId="{34B4283B-E526-480A-9AB1-868AB2261910}" dt="2022-12-07T08:44:42.503" v="7409" actId="1036"/>
          <ac:spMkLst>
            <pc:docMk/>
            <pc:sldMk cId="959709447" sldId="1134"/>
            <ac:spMk id="23" creationId="{C538D11E-05CF-882E-D518-7BF2147B00AD}"/>
          </ac:spMkLst>
        </pc:spChg>
        <pc:spChg chg="add mod">
          <ac:chgData name="Klaudia Gnyla" userId="7fd7bc4b-04b7-46f5-adb4-8d479a07b147" providerId="ADAL" clId="{34B4283B-E526-480A-9AB1-868AB2261910}" dt="2023-01-04T11:38:18.553" v="12265" actId="20577"/>
          <ac:spMkLst>
            <pc:docMk/>
            <pc:sldMk cId="959709447" sldId="1134"/>
            <ac:spMk id="24" creationId="{5A3378A9-6D18-8677-1F6E-93DA8820A432}"/>
          </ac:spMkLst>
        </pc:spChg>
        <pc:spChg chg="add mod">
          <ac:chgData name="Klaudia Gnyla" userId="7fd7bc4b-04b7-46f5-adb4-8d479a07b147" providerId="ADAL" clId="{34B4283B-E526-480A-9AB1-868AB2261910}" dt="2023-01-18T15:16:13.896" v="18039" actId="207"/>
          <ac:spMkLst>
            <pc:docMk/>
            <pc:sldMk cId="959709447" sldId="1134"/>
            <ac:spMk id="25" creationId="{D6B5233E-3563-FD72-389E-C2EDFB118C1D}"/>
          </ac:spMkLst>
        </pc:spChg>
        <pc:picChg chg="add mod">
          <ac:chgData name="Klaudia Gnyla" userId="7fd7bc4b-04b7-46f5-adb4-8d479a07b147" providerId="ADAL" clId="{34B4283B-E526-480A-9AB1-868AB2261910}" dt="2022-12-07T08:49:39.829" v="7490" actId="1035"/>
          <ac:picMkLst>
            <pc:docMk/>
            <pc:sldMk cId="959709447" sldId="1134"/>
            <ac:picMk id="2050" creationId="{E25F5F31-425C-B813-EB8B-6CC1D24C20E5}"/>
          </ac:picMkLst>
        </pc:picChg>
        <pc:picChg chg="add mod">
          <ac:chgData name="Klaudia Gnyla" userId="7fd7bc4b-04b7-46f5-adb4-8d479a07b147" providerId="ADAL" clId="{34B4283B-E526-480A-9AB1-868AB2261910}" dt="2022-12-07T08:49:53.409" v="7545" actId="1076"/>
          <ac:picMkLst>
            <pc:docMk/>
            <pc:sldMk cId="959709447" sldId="1134"/>
            <ac:picMk id="2052" creationId="{E31843F2-49F6-5627-F4A3-BDDB9A9F28FF}"/>
          </ac:picMkLst>
        </pc:picChg>
        <pc:picChg chg="add mod">
          <ac:chgData name="Klaudia Gnyla" userId="7fd7bc4b-04b7-46f5-adb4-8d479a07b147" providerId="ADAL" clId="{34B4283B-E526-480A-9AB1-868AB2261910}" dt="2022-12-07T08:50:18.738" v="7619" actId="1076"/>
          <ac:picMkLst>
            <pc:docMk/>
            <pc:sldMk cId="959709447" sldId="1134"/>
            <ac:picMk id="2054" creationId="{87FDF990-7E8B-7BB3-82FA-4472041A4068}"/>
          </ac:picMkLst>
        </pc:picChg>
        <pc:picChg chg="add mod">
          <ac:chgData name="Klaudia Gnyla" userId="7fd7bc4b-04b7-46f5-adb4-8d479a07b147" providerId="ADAL" clId="{34B4283B-E526-480A-9AB1-868AB2261910}" dt="2022-12-07T08:50:29.125" v="7660" actId="1076"/>
          <ac:picMkLst>
            <pc:docMk/>
            <pc:sldMk cId="959709447" sldId="1134"/>
            <ac:picMk id="2056" creationId="{19E59DF6-F085-7668-5BE4-943DDD429B30}"/>
          </ac:picMkLst>
        </pc:picChg>
        <pc:picChg chg="add mod">
          <ac:chgData name="Klaudia Gnyla" userId="7fd7bc4b-04b7-46f5-adb4-8d479a07b147" providerId="ADAL" clId="{34B4283B-E526-480A-9AB1-868AB2261910}" dt="2022-12-07T08:50:37.185" v="7700" actId="1076"/>
          <ac:picMkLst>
            <pc:docMk/>
            <pc:sldMk cId="959709447" sldId="1134"/>
            <ac:picMk id="2058" creationId="{971ACF17-EA94-8071-E057-B9D9B7DB9744}"/>
          </ac:picMkLst>
        </pc:picChg>
        <pc:picChg chg="add mod">
          <ac:chgData name="Klaudia Gnyla" userId="7fd7bc4b-04b7-46f5-adb4-8d479a07b147" providerId="ADAL" clId="{34B4283B-E526-480A-9AB1-868AB2261910}" dt="2022-12-07T08:50:56.080" v="7776" actId="1076"/>
          <ac:picMkLst>
            <pc:docMk/>
            <pc:sldMk cId="959709447" sldId="1134"/>
            <ac:picMk id="2060" creationId="{2F6C87C4-F467-2DD2-60E5-5DA21807BF47}"/>
          </ac:picMkLst>
        </pc:picChg>
        <pc:cxnChg chg="add mod">
          <ac:chgData name="Klaudia Gnyla" userId="7fd7bc4b-04b7-46f5-adb4-8d479a07b147" providerId="ADAL" clId="{34B4283B-E526-480A-9AB1-868AB2261910}" dt="2022-12-07T08:44:49.824" v="7410" actId="1076"/>
          <ac:cxnSpMkLst>
            <pc:docMk/>
            <pc:sldMk cId="959709447" sldId="1134"/>
            <ac:cxnSpMk id="3" creationId="{08B69C19-3C56-97AD-C8FD-A3E711E5E0BC}"/>
          </ac:cxnSpMkLst>
        </pc:cxnChg>
      </pc:sldChg>
      <pc:sldChg chg="del">
        <pc:chgData name="Klaudia Gnyla" userId="7fd7bc4b-04b7-46f5-adb4-8d479a07b147" providerId="ADAL" clId="{34B4283B-E526-480A-9AB1-868AB2261910}" dt="2022-12-05T13:24:14.406" v="108" actId="2696"/>
        <pc:sldMkLst>
          <pc:docMk/>
          <pc:sldMk cId="312259819" sldId="1135"/>
        </pc:sldMkLst>
      </pc:sldChg>
      <pc:sldChg chg="addSp delSp modSp add del mod">
        <pc:chgData name="Klaudia Gnyla" userId="7fd7bc4b-04b7-46f5-adb4-8d479a07b147" providerId="ADAL" clId="{34B4283B-E526-480A-9AB1-868AB2261910}" dt="2023-01-04T11:49:03.243" v="12443" actId="47"/>
        <pc:sldMkLst>
          <pc:docMk/>
          <pc:sldMk cId="2860843554" sldId="1135"/>
        </pc:sldMkLst>
        <pc:spChg chg="add mod ord">
          <ac:chgData name="Klaudia Gnyla" userId="7fd7bc4b-04b7-46f5-adb4-8d479a07b147" providerId="ADAL" clId="{34B4283B-E526-480A-9AB1-868AB2261910}" dt="2022-12-06T15:36:52.242" v="6152" actId="167"/>
          <ac:spMkLst>
            <pc:docMk/>
            <pc:sldMk cId="2860843554" sldId="1135"/>
            <ac:spMk id="2" creationId="{FC5D8A1B-D8DE-3FDA-587B-795D3CDCCADC}"/>
          </ac:spMkLst>
        </pc:spChg>
        <pc:spChg chg="add mod">
          <ac:chgData name="Klaudia Gnyla" userId="7fd7bc4b-04b7-46f5-adb4-8d479a07b147" providerId="ADAL" clId="{34B4283B-E526-480A-9AB1-868AB2261910}" dt="2023-01-04T11:38:24.073" v="12267" actId="20577"/>
          <ac:spMkLst>
            <pc:docMk/>
            <pc:sldMk cId="2860843554" sldId="1135"/>
            <ac:spMk id="3" creationId="{332C81CD-AD56-CD36-AB6C-ED39ECF4AA8F}"/>
          </ac:spMkLst>
        </pc:spChg>
        <pc:spChg chg="add mod">
          <ac:chgData name="Klaudia Gnyla" userId="7fd7bc4b-04b7-46f5-adb4-8d479a07b147" providerId="ADAL" clId="{34B4283B-E526-480A-9AB1-868AB2261910}" dt="2022-12-07T09:02:34.784" v="7814" actId="255"/>
          <ac:spMkLst>
            <pc:docMk/>
            <pc:sldMk cId="2860843554" sldId="1135"/>
            <ac:spMk id="4" creationId="{242E8832-18D9-FF8E-1CC6-97389473E8F3}"/>
          </ac:spMkLst>
        </pc:spChg>
        <pc:spChg chg="add mod">
          <ac:chgData name="Klaudia Gnyla" userId="7fd7bc4b-04b7-46f5-adb4-8d479a07b147" providerId="ADAL" clId="{34B4283B-E526-480A-9AB1-868AB2261910}" dt="2023-01-04T11:48:54.673" v="12441" actId="20577"/>
          <ac:spMkLst>
            <pc:docMk/>
            <pc:sldMk cId="2860843554" sldId="1135"/>
            <ac:spMk id="5" creationId="{CF2B9856-0E59-3B18-A075-3AC4D7EEB23C}"/>
          </ac:spMkLst>
        </pc:spChg>
        <pc:spChg chg="add mod">
          <ac:chgData name="Klaudia Gnyla" userId="7fd7bc4b-04b7-46f5-adb4-8d479a07b147" providerId="ADAL" clId="{34B4283B-E526-480A-9AB1-868AB2261910}" dt="2022-12-07T09:09:42.058" v="8144" actId="20577"/>
          <ac:spMkLst>
            <pc:docMk/>
            <pc:sldMk cId="2860843554" sldId="1135"/>
            <ac:spMk id="6" creationId="{E43300AD-AF85-E16F-1555-5690F8F405D8}"/>
          </ac:spMkLst>
        </pc:spChg>
        <pc:spChg chg="add del mod">
          <ac:chgData name="Klaudia Gnyla" userId="7fd7bc4b-04b7-46f5-adb4-8d479a07b147" providerId="ADAL" clId="{34B4283B-E526-480A-9AB1-868AB2261910}" dt="2022-12-07T09:09:44.884" v="8145" actId="478"/>
          <ac:spMkLst>
            <pc:docMk/>
            <pc:sldMk cId="2860843554" sldId="1135"/>
            <ac:spMk id="7" creationId="{581D99AB-1B07-869C-FEF9-C7E44C361542}"/>
          </ac:spMkLst>
        </pc:spChg>
        <pc:spChg chg="add del mod">
          <ac:chgData name="Klaudia Gnyla" userId="7fd7bc4b-04b7-46f5-adb4-8d479a07b147" providerId="ADAL" clId="{34B4283B-E526-480A-9AB1-868AB2261910}" dt="2023-01-04T11:49:00.163" v="12442" actId="478"/>
          <ac:spMkLst>
            <pc:docMk/>
            <pc:sldMk cId="2860843554" sldId="1135"/>
            <ac:spMk id="8" creationId="{E256F70C-825B-18EB-1F16-20078ED863C5}"/>
          </ac:spMkLst>
        </pc:spChg>
        <pc:spChg chg="add mod">
          <ac:chgData name="Klaudia Gnyla" userId="7fd7bc4b-04b7-46f5-adb4-8d479a07b147" providerId="ADAL" clId="{34B4283B-E526-480A-9AB1-868AB2261910}" dt="2022-12-07T09:48:57.665" v="8941" actId="1076"/>
          <ac:spMkLst>
            <pc:docMk/>
            <pc:sldMk cId="2860843554" sldId="1135"/>
            <ac:spMk id="13" creationId="{A54FC88C-530C-69F5-780E-F7C3D7691602}"/>
          </ac:spMkLst>
        </pc:spChg>
        <pc:cxnChg chg="add del">
          <ac:chgData name="Klaudia Gnyla" userId="7fd7bc4b-04b7-46f5-adb4-8d479a07b147" providerId="ADAL" clId="{34B4283B-E526-480A-9AB1-868AB2261910}" dt="2022-12-07T09:14:10.332" v="8585" actId="11529"/>
          <ac:cxnSpMkLst>
            <pc:docMk/>
            <pc:sldMk cId="2860843554" sldId="1135"/>
            <ac:cxnSpMk id="10" creationId="{979235CA-5639-67B5-DA23-68693EE1A425}"/>
          </ac:cxnSpMkLst>
        </pc:cxnChg>
        <pc:cxnChg chg="add mod">
          <ac:chgData name="Klaudia Gnyla" userId="7fd7bc4b-04b7-46f5-adb4-8d479a07b147" providerId="ADAL" clId="{34B4283B-E526-480A-9AB1-868AB2261910}" dt="2022-12-07T09:14:29.445" v="8587" actId="208"/>
          <ac:cxnSpMkLst>
            <pc:docMk/>
            <pc:sldMk cId="2860843554" sldId="1135"/>
            <ac:cxnSpMk id="12" creationId="{4F076DAE-BC46-10AD-4FFE-594CB1987BD7}"/>
          </ac:cxnSpMkLst>
        </pc:cxnChg>
      </pc:sldChg>
      <pc:sldChg chg="addSp modSp add del mod">
        <pc:chgData name="Klaudia Gnyla" userId="7fd7bc4b-04b7-46f5-adb4-8d479a07b147" providerId="ADAL" clId="{34B4283B-E526-480A-9AB1-868AB2261910}" dt="2022-12-07T09:14:46.877" v="8589" actId="2696"/>
        <pc:sldMkLst>
          <pc:docMk/>
          <pc:sldMk cId="2677063586" sldId="1136"/>
        </pc:sldMkLst>
        <pc:spChg chg="add mod ord">
          <ac:chgData name="Klaudia Gnyla" userId="7fd7bc4b-04b7-46f5-adb4-8d479a07b147" providerId="ADAL" clId="{34B4283B-E526-480A-9AB1-868AB2261910}" dt="2022-12-06T15:36:57.930" v="6154" actId="167"/>
          <ac:spMkLst>
            <pc:docMk/>
            <pc:sldMk cId="2677063586" sldId="1136"/>
            <ac:spMk id="2" creationId="{C950FD72-BCCE-9EB9-B8DD-9A2BDE37B14B}"/>
          </ac:spMkLst>
        </pc:spChg>
      </pc:sldChg>
      <pc:sldChg chg="add del">
        <pc:chgData name="Klaudia Gnyla" userId="7fd7bc4b-04b7-46f5-adb4-8d479a07b147" providerId="ADAL" clId="{34B4283B-E526-480A-9AB1-868AB2261910}" dt="2022-12-07T09:15:00.448" v="8594" actId="2696"/>
        <pc:sldMkLst>
          <pc:docMk/>
          <pc:sldMk cId="71243789" sldId="1137"/>
        </pc:sldMkLst>
      </pc:sldChg>
      <pc:sldChg chg="del">
        <pc:chgData name="Klaudia Gnyla" userId="7fd7bc4b-04b7-46f5-adb4-8d479a07b147" providerId="ADAL" clId="{34B4283B-E526-480A-9AB1-868AB2261910}" dt="2022-12-05T13:24:06.311" v="105" actId="2696"/>
        <pc:sldMkLst>
          <pc:docMk/>
          <pc:sldMk cId="661304408" sldId="1138"/>
        </pc:sldMkLst>
      </pc:sldChg>
      <pc:sldChg chg="add del">
        <pc:chgData name="Klaudia Gnyla" userId="7fd7bc4b-04b7-46f5-adb4-8d479a07b147" providerId="ADAL" clId="{34B4283B-E526-480A-9AB1-868AB2261910}" dt="2022-12-07T09:15:03.018" v="8595" actId="2696"/>
        <pc:sldMkLst>
          <pc:docMk/>
          <pc:sldMk cId="4286307274" sldId="1138"/>
        </pc:sldMkLst>
      </pc:sldChg>
      <pc:sldChg chg="del">
        <pc:chgData name="Klaudia Gnyla" userId="7fd7bc4b-04b7-46f5-adb4-8d479a07b147" providerId="ADAL" clId="{34B4283B-E526-480A-9AB1-868AB2261910}" dt="2022-12-05T13:24:08.334" v="106" actId="2696"/>
        <pc:sldMkLst>
          <pc:docMk/>
          <pc:sldMk cId="558625383" sldId="1139"/>
        </pc:sldMkLst>
      </pc:sldChg>
      <pc:sldChg chg="add del">
        <pc:chgData name="Klaudia Gnyla" userId="7fd7bc4b-04b7-46f5-adb4-8d479a07b147" providerId="ADAL" clId="{34B4283B-E526-480A-9AB1-868AB2261910}" dt="2022-12-07T09:15:05.461" v="8596" actId="2696"/>
        <pc:sldMkLst>
          <pc:docMk/>
          <pc:sldMk cId="2272660720" sldId="1139"/>
        </pc:sldMkLst>
      </pc:sldChg>
      <pc:sldChg chg="addSp delSp modSp add del mod ord">
        <pc:chgData name="Klaudia Gnyla" userId="7fd7bc4b-04b7-46f5-adb4-8d479a07b147" providerId="ADAL" clId="{34B4283B-E526-480A-9AB1-868AB2261910}" dt="2023-01-11T10:04:55.943" v="12692" actId="47"/>
        <pc:sldMkLst>
          <pc:docMk/>
          <pc:sldMk cId="3748336390" sldId="1140"/>
        </pc:sldMkLst>
        <pc:spChg chg="add mod ord">
          <ac:chgData name="Klaudia Gnyla" userId="7fd7bc4b-04b7-46f5-adb4-8d479a07b147" providerId="ADAL" clId="{34B4283B-E526-480A-9AB1-868AB2261910}" dt="2022-12-06T15:36:29.956" v="6142" actId="167"/>
          <ac:spMkLst>
            <pc:docMk/>
            <pc:sldMk cId="3748336390" sldId="1140"/>
            <ac:spMk id="2" creationId="{733C95F2-9455-7A2F-6421-A1B9810F6327}"/>
          </ac:spMkLst>
        </pc:spChg>
        <pc:spChg chg="add mod">
          <ac:chgData name="Klaudia Gnyla" userId="7fd7bc4b-04b7-46f5-adb4-8d479a07b147" providerId="ADAL" clId="{34B4283B-E526-480A-9AB1-868AB2261910}" dt="2023-01-04T11:37:40.144" v="12253" actId="20577"/>
          <ac:spMkLst>
            <pc:docMk/>
            <pc:sldMk cId="3748336390" sldId="1140"/>
            <ac:spMk id="3" creationId="{5799451E-5EC3-F953-EF1C-E57F51990D73}"/>
          </ac:spMkLst>
        </pc:spChg>
        <pc:spChg chg="add mod">
          <ac:chgData name="Klaudia Gnyla" userId="7fd7bc4b-04b7-46f5-adb4-8d479a07b147" providerId="ADAL" clId="{34B4283B-E526-480A-9AB1-868AB2261910}" dt="2022-12-06T15:44:57.670" v="6496" actId="14100"/>
          <ac:spMkLst>
            <pc:docMk/>
            <pc:sldMk cId="3748336390" sldId="1140"/>
            <ac:spMk id="4" creationId="{80AA3A1D-7B42-8474-2452-495774398EA8}"/>
          </ac:spMkLst>
        </pc:spChg>
        <pc:spChg chg="add mod">
          <ac:chgData name="Klaudia Gnyla" userId="7fd7bc4b-04b7-46f5-adb4-8d479a07b147" providerId="ADAL" clId="{34B4283B-E526-480A-9AB1-868AB2261910}" dt="2022-12-06T15:46:45.019" v="6526" actId="14100"/>
          <ac:spMkLst>
            <pc:docMk/>
            <pc:sldMk cId="3748336390" sldId="1140"/>
            <ac:spMk id="7" creationId="{92F307EC-5C05-E1F7-7A93-5857D52A6D4E}"/>
          </ac:spMkLst>
        </pc:spChg>
        <pc:spChg chg="add mod">
          <ac:chgData name="Klaudia Gnyla" userId="7fd7bc4b-04b7-46f5-adb4-8d479a07b147" providerId="ADAL" clId="{34B4283B-E526-480A-9AB1-868AB2261910}" dt="2022-12-06T15:46:39.533" v="6524" actId="14100"/>
          <ac:spMkLst>
            <pc:docMk/>
            <pc:sldMk cId="3748336390" sldId="1140"/>
            <ac:spMk id="8" creationId="{2CC84841-A3A1-6EBD-1EE9-4C9C62B8B46B}"/>
          </ac:spMkLst>
        </pc:spChg>
        <pc:spChg chg="add mod">
          <ac:chgData name="Klaudia Gnyla" userId="7fd7bc4b-04b7-46f5-adb4-8d479a07b147" providerId="ADAL" clId="{34B4283B-E526-480A-9AB1-868AB2261910}" dt="2022-12-06T15:48:05.834" v="6576" actId="1076"/>
          <ac:spMkLst>
            <pc:docMk/>
            <pc:sldMk cId="3748336390" sldId="1140"/>
            <ac:spMk id="13" creationId="{73C8303D-40EA-C3AC-2843-A3E90F42932B}"/>
          </ac:spMkLst>
        </pc:spChg>
        <pc:spChg chg="add mod">
          <ac:chgData name="Klaudia Gnyla" userId="7fd7bc4b-04b7-46f5-adb4-8d479a07b147" providerId="ADAL" clId="{34B4283B-E526-480A-9AB1-868AB2261910}" dt="2022-12-06T15:48:29.716" v="6582" actId="1076"/>
          <ac:spMkLst>
            <pc:docMk/>
            <pc:sldMk cId="3748336390" sldId="1140"/>
            <ac:spMk id="15" creationId="{61076EE9-510A-8A6C-F6FC-D6E98FEAB7CD}"/>
          </ac:spMkLst>
        </pc:spChg>
        <pc:spChg chg="add mod">
          <ac:chgData name="Klaudia Gnyla" userId="7fd7bc4b-04b7-46f5-adb4-8d479a07b147" providerId="ADAL" clId="{34B4283B-E526-480A-9AB1-868AB2261910}" dt="2023-01-04T11:26:24.956" v="12136" actId="20577"/>
          <ac:spMkLst>
            <pc:docMk/>
            <pc:sldMk cId="3748336390" sldId="1140"/>
            <ac:spMk id="16" creationId="{9248CF13-759B-3219-A697-E64839B1A6DE}"/>
          </ac:spMkLst>
        </pc:spChg>
        <pc:spChg chg="add mod">
          <ac:chgData name="Klaudia Gnyla" userId="7fd7bc4b-04b7-46f5-adb4-8d479a07b147" providerId="ADAL" clId="{34B4283B-E526-480A-9AB1-868AB2261910}" dt="2022-12-06T15:49:37.461" v="6596" actId="2711"/>
          <ac:spMkLst>
            <pc:docMk/>
            <pc:sldMk cId="3748336390" sldId="1140"/>
            <ac:spMk id="17" creationId="{2DF7C177-A0DE-2CCB-7170-C1DB753184DD}"/>
          </ac:spMkLst>
        </pc:spChg>
        <pc:spChg chg="add mod">
          <ac:chgData name="Klaudia Gnyla" userId="7fd7bc4b-04b7-46f5-adb4-8d479a07b147" providerId="ADAL" clId="{34B4283B-E526-480A-9AB1-868AB2261910}" dt="2022-12-06T15:50:09.881" v="6663" actId="1076"/>
          <ac:spMkLst>
            <pc:docMk/>
            <pc:sldMk cId="3748336390" sldId="1140"/>
            <ac:spMk id="18" creationId="{1F006A49-A6DE-0057-29E3-69C358129FC9}"/>
          </ac:spMkLst>
        </pc:spChg>
        <pc:spChg chg="add mod">
          <ac:chgData name="Klaudia Gnyla" userId="7fd7bc4b-04b7-46f5-adb4-8d479a07b147" providerId="ADAL" clId="{34B4283B-E526-480A-9AB1-868AB2261910}" dt="2022-12-06T15:50:38.578" v="6668" actId="2711"/>
          <ac:spMkLst>
            <pc:docMk/>
            <pc:sldMk cId="3748336390" sldId="1140"/>
            <ac:spMk id="19" creationId="{888A9623-F22F-FA25-27E6-211276F86996}"/>
          </ac:spMkLst>
        </pc:spChg>
        <pc:spChg chg="add del mod">
          <ac:chgData name="Klaudia Gnyla" userId="7fd7bc4b-04b7-46f5-adb4-8d479a07b147" providerId="ADAL" clId="{34B4283B-E526-480A-9AB1-868AB2261910}" dt="2022-12-06T15:50:50.098" v="6670"/>
          <ac:spMkLst>
            <pc:docMk/>
            <pc:sldMk cId="3748336390" sldId="1140"/>
            <ac:spMk id="20" creationId="{848DB19F-1765-F366-54B3-AA913A538E0A}"/>
          </ac:spMkLst>
        </pc:spChg>
        <pc:spChg chg="add mod">
          <ac:chgData name="Klaudia Gnyla" userId="7fd7bc4b-04b7-46f5-adb4-8d479a07b147" providerId="ADAL" clId="{34B4283B-E526-480A-9AB1-868AB2261910}" dt="2022-12-06T15:51:05.564" v="6673" actId="2711"/>
          <ac:spMkLst>
            <pc:docMk/>
            <pc:sldMk cId="3748336390" sldId="1140"/>
            <ac:spMk id="21" creationId="{D79C5781-2AD4-D7DD-DE9D-8AB18CAF7C51}"/>
          </ac:spMkLst>
        </pc:spChg>
        <pc:cxnChg chg="add mod">
          <ac:chgData name="Klaudia Gnyla" userId="7fd7bc4b-04b7-46f5-adb4-8d479a07b147" providerId="ADAL" clId="{34B4283B-E526-480A-9AB1-868AB2261910}" dt="2022-12-06T15:45:31.423" v="6500" actId="1076"/>
          <ac:cxnSpMkLst>
            <pc:docMk/>
            <pc:sldMk cId="3748336390" sldId="1140"/>
            <ac:cxnSpMk id="6" creationId="{326180A1-56C6-C899-768D-02E606B7859F}"/>
          </ac:cxnSpMkLst>
        </pc:cxnChg>
        <pc:cxnChg chg="add mod">
          <ac:chgData name="Klaudia Gnyla" userId="7fd7bc4b-04b7-46f5-adb4-8d479a07b147" providerId="ADAL" clId="{34B4283B-E526-480A-9AB1-868AB2261910}" dt="2022-12-06T15:47:32.156" v="6535" actId="1038"/>
          <ac:cxnSpMkLst>
            <pc:docMk/>
            <pc:sldMk cId="3748336390" sldId="1140"/>
            <ac:cxnSpMk id="10" creationId="{69C01525-EDBD-81A7-0ABF-A1B51464D303}"/>
          </ac:cxnSpMkLst>
        </pc:cxnChg>
      </pc:sldChg>
      <pc:sldChg chg="del">
        <pc:chgData name="Klaudia Gnyla" userId="7fd7bc4b-04b7-46f5-adb4-8d479a07b147" providerId="ADAL" clId="{34B4283B-E526-480A-9AB1-868AB2261910}" dt="2022-12-05T13:24:11.460" v="107" actId="2696"/>
        <pc:sldMkLst>
          <pc:docMk/>
          <pc:sldMk cId="2426627066" sldId="1141"/>
        </pc:sldMkLst>
      </pc:sldChg>
      <pc:sldChg chg="add del">
        <pc:chgData name="Klaudia Gnyla" userId="7fd7bc4b-04b7-46f5-adb4-8d479a07b147" providerId="ADAL" clId="{34B4283B-E526-480A-9AB1-868AB2261910}" dt="2022-12-07T09:14:49.430" v="8590" actId="2696"/>
        <pc:sldMkLst>
          <pc:docMk/>
          <pc:sldMk cId="3414957223" sldId="1141"/>
        </pc:sldMkLst>
      </pc:sldChg>
      <pc:sldChg chg="add del">
        <pc:chgData name="Klaudia Gnyla" userId="7fd7bc4b-04b7-46f5-adb4-8d479a07b147" providerId="ADAL" clId="{34B4283B-E526-480A-9AB1-868AB2261910}" dt="2022-12-07T09:14:52.254" v="8591" actId="2696"/>
        <pc:sldMkLst>
          <pc:docMk/>
          <pc:sldMk cId="3251664625" sldId="1142"/>
        </pc:sldMkLst>
      </pc:sldChg>
      <pc:sldChg chg="add del">
        <pc:chgData name="Klaudia Gnyla" userId="7fd7bc4b-04b7-46f5-adb4-8d479a07b147" providerId="ADAL" clId="{34B4283B-E526-480A-9AB1-868AB2261910}" dt="2022-12-07T09:14:54.741" v="8592" actId="2696"/>
        <pc:sldMkLst>
          <pc:docMk/>
          <pc:sldMk cId="1760138692" sldId="1143"/>
        </pc:sldMkLst>
      </pc:sldChg>
      <pc:sldChg chg="add del">
        <pc:chgData name="Klaudia Gnyla" userId="7fd7bc4b-04b7-46f5-adb4-8d479a07b147" providerId="ADAL" clId="{34B4283B-E526-480A-9AB1-868AB2261910}" dt="2022-12-07T09:14:57.982" v="8593" actId="2696"/>
        <pc:sldMkLst>
          <pc:docMk/>
          <pc:sldMk cId="3116142034" sldId="1144"/>
        </pc:sldMkLst>
      </pc:sldChg>
      <pc:sldChg chg="addSp delSp modSp add mod ord delCm">
        <pc:chgData name="Klaudia Gnyla" userId="7fd7bc4b-04b7-46f5-adb4-8d479a07b147" providerId="ADAL" clId="{34B4283B-E526-480A-9AB1-868AB2261910}" dt="2023-01-19T11:06:05.431" v="18248"/>
        <pc:sldMkLst>
          <pc:docMk/>
          <pc:sldMk cId="3066080815" sldId="1145"/>
        </pc:sldMkLst>
        <pc:spChg chg="add del mod">
          <ac:chgData name="Klaudia Gnyla" userId="7fd7bc4b-04b7-46f5-adb4-8d479a07b147" providerId="ADAL" clId="{34B4283B-E526-480A-9AB1-868AB2261910}" dt="2022-12-07T08:40:46.011" v="7271" actId="478"/>
          <ac:spMkLst>
            <pc:docMk/>
            <pc:sldMk cId="3066080815" sldId="1145"/>
            <ac:spMk id="3" creationId="{52B89D36-E9C8-1C86-72A7-6E4EEC7DDDFF}"/>
          </ac:spMkLst>
        </pc:spChg>
        <pc:spChg chg="add del mod">
          <ac:chgData name="Klaudia Gnyla" userId="7fd7bc4b-04b7-46f5-adb4-8d479a07b147" providerId="ADAL" clId="{34B4283B-E526-480A-9AB1-868AB2261910}" dt="2022-12-07T10:07:47.181" v="9075" actId="20577"/>
          <ac:spMkLst>
            <pc:docMk/>
            <pc:sldMk cId="3066080815" sldId="1145"/>
            <ac:spMk id="4" creationId="{C43595F1-4082-B2D8-D8B7-B93DC8F8EB77}"/>
          </ac:spMkLst>
        </pc:spChg>
        <pc:spChg chg="add del mod">
          <ac:chgData name="Klaudia Gnyla" userId="7fd7bc4b-04b7-46f5-adb4-8d479a07b147" providerId="ADAL" clId="{34B4283B-E526-480A-9AB1-868AB2261910}" dt="2022-12-07T08:41:47.648" v="7302" actId="1076"/>
          <ac:spMkLst>
            <pc:docMk/>
            <pc:sldMk cId="3066080815" sldId="1145"/>
            <ac:spMk id="5" creationId="{E49604E0-B560-405B-EF6E-8A83021E6B1E}"/>
          </ac:spMkLst>
        </pc:spChg>
        <pc:spChg chg="add del mod">
          <ac:chgData name="Klaudia Gnyla" userId="7fd7bc4b-04b7-46f5-adb4-8d479a07b147" providerId="ADAL" clId="{34B4283B-E526-480A-9AB1-868AB2261910}" dt="2022-12-07T08:42:16.610" v="7305" actId="1076"/>
          <ac:spMkLst>
            <pc:docMk/>
            <pc:sldMk cId="3066080815" sldId="1145"/>
            <ac:spMk id="6" creationId="{F517E3CB-DD9C-720E-0DB5-C68CE5D9F8CD}"/>
          </ac:spMkLst>
        </pc:spChg>
        <pc:spChg chg="add mod">
          <ac:chgData name="Klaudia Gnyla" userId="7fd7bc4b-04b7-46f5-adb4-8d479a07b147" providerId="ADAL" clId="{34B4283B-E526-480A-9AB1-868AB2261910}" dt="2023-01-04T11:38:07.323" v="12261" actId="20577"/>
          <ac:spMkLst>
            <pc:docMk/>
            <pc:sldMk cId="3066080815" sldId="1145"/>
            <ac:spMk id="9" creationId="{38DB2C3E-91B2-00EB-FE84-E1057530187B}"/>
          </ac:spMkLst>
        </pc:spChg>
        <pc:cxnChg chg="add del mod">
          <ac:chgData name="Klaudia Gnyla" userId="7fd7bc4b-04b7-46f5-adb4-8d479a07b147" providerId="ADAL" clId="{34B4283B-E526-480A-9AB1-868AB2261910}" dt="2022-12-07T08:41:34.879" v="7300" actId="1076"/>
          <ac:cxnSpMkLst>
            <pc:docMk/>
            <pc:sldMk cId="3066080815" sldId="1145"/>
            <ac:cxnSpMk id="7" creationId="{FB84045B-0C0E-31F3-11B3-C5EB65B56817}"/>
          </ac:cxnSpMkLst>
        </pc:cxnChg>
        <pc:cxnChg chg="add del mod">
          <ac:chgData name="Klaudia Gnyla" userId="7fd7bc4b-04b7-46f5-adb4-8d479a07b147" providerId="ADAL" clId="{34B4283B-E526-480A-9AB1-868AB2261910}" dt="2022-12-07T08:41:59.286" v="7303" actId="1076"/>
          <ac:cxnSpMkLst>
            <pc:docMk/>
            <pc:sldMk cId="3066080815" sldId="1145"/>
            <ac:cxnSpMk id="8" creationId="{BB06E4FD-4FF8-37F4-04EE-538B5CFC4401}"/>
          </ac:cxnSpMkLst>
        </pc:cxnChg>
      </pc:sldChg>
      <pc:sldChg chg="addSp delSp modSp add mod">
        <pc:chgData name="Klaudia Gnyla" userId="7fd7bc4b-04b7-46f5-adb4-8d479a07b147" providerId="ADAL" clId="{34B4283B-E526-480A-9AB1-868AB2261910}" dt="2023-01-04T11:38:12.628" v="12263" actId="20577"/>
        <pc:sldMkLst>
          <pc:docMk/>
          <pc:sldMk cId="1723101856" sldId="1146"/>
        </pc:sldMkLst>
        <pc:spChg chg="add mod">
          <ac:chgData name="Klaudia Gnyla" userId="7fd7bc4b-04b7-46f5-adb4-8d479a07b147" providerId="ADAL" clId="{34B4283B-E526-480A-9AB1-868AB2261910}" dt="2022-12-07T08:43:32.964" v="7330" actId="20577"/>
          <ac:spMkLst>
            <pc:docMk/>
            <pc:sldMk cId="1723101856" sldId="1146"/>
            <ac:spMk id="3" creationId="{4E171174-D851-A571-831A-318707B93CAE}"/>
          </ac:spMkLst>
        </pc:spChg>
        <pc:spChg chg="del mod">
          <ac:chgData name="Klaudia Gnyla" userId="7fd7bc4b-04b7-46f5-adb4-8d479a07b147" providerId="ADAL" clId="{34B4283B-E526-480A-9AB1-868AB2261910}" dt="2022-12-07T08:42:44.094" v="7309" actId="478"/>
          <ac:spMkLst>
            <pc:docMk/>
            <pc:sldMk cId="1723101856" sldId="1146"/>
            <ac:spMk id="4" creationId="{C43595F1-4082-B2D8-D8B7-B93DC8F8EB77}"/>
          </ac:spMkLst>
        </pc:spChg>
        <pc:spChg chg="del">
          <ac:chgData name="Klaudia Gnyla" userId="7fd7bc4b-04b7-46f5-adb4-8d479a07b147" providerId="ADAL" clId="{34B4283B-E526-480A-9AB1-868AB2261910}" dt="2022-12-07T08:42:47.839" v="7310" actId="478"/>
          <ac:spMkLst>
            <pc:docMk/>
            <pc:sldMk cId="1723101856" sldId="1146"/>
            <ac:spMk id="5" creationId="{E49604E0-B560-405B-EF6E-8A83021E6B1E}"/>
          </ac:spMkLst>
        </pc:spChg>
        <pc:spChg chg="del">
          <ac:chgData name="Klaudia Gnyla" userId="7fd7bc4b-04b7-46f5-adb4-8d479a07b147" providerId="ADAL" clId="{34B4283B-E526-480A-9AB1-868AB2261910}" dt="2022-12-07T08:42:49.631" v="7311" actId="478"/>
          <ac:spMkLst>
            <pc:docMk/>
            <pc:sldMk cId="1723101856" sldId="1146"/>
            <ac:spMk id="6" creationId="{F517E3CB-DD9C-720E-0DB5-C68CE5D9F8CD}"/>
          </ac:spMkLst>
        </pc:spChg>
        <pc:spChg chg="mod">
          <ac:chgData name="Klaudia Gnyla" userId="7fd7bc4b-04b7-46f5-adb4-8d479a07b147" providerId="ADAL" clId="{34B4283B-E526-480A-9AB1-868AB2261910}" dt="2023-01-04T11:38:12.628" v="12263" actId="20577"/>
          <ac:spMkLst>
            <pc:docMk/>
            <pc:sldMk cId="1723101856" sldId="1146"/>
            <ac:spMk id="9" creationId="{38DB2C3E-91B2-00EB-FE84-E1057530187B}"/>
          </ac:spMkLst>
        </pc:spChg>
        <pc:cxnChg chg="del mod">
          <ac:chgData name="Klaudia Gnyla" userId="7fd7bc4b-04b7-46f5-adb4-8d479a07b147" providerId="ADAL" clId="{34B4283B-E526-480A-9AB1-868AB2261910}" dt="2022-12-07T08:42:53.688" v="7314" actId="478"/>
          <ac:cxnSpMkLst>
            <pc:docMk/>
            <pc:sldMk cId="1723101856" sldId="1146"/>
            <ac:cxnSpMk id="7" creationId="{FB84045B-0C0E-31F3-11B3-C5EB65B56817}"/>
          </ac:cxnSpMkLst>
        </pc:cxnChg>
        <pc:cxnChg chg="del">
          <ac:chgData name="Klaudia Gnyla" userId="7fd7bc4b-04b7-46f5-adb4-8d479a07b147" providerId="ADAL" clId="{34B4283B-E526-480A-9AB1-868AB2261910}" dt="2022-12-07T08:42:51.440" v="7312" actId="478"/>
          <ac:cxnSpMkLst>
            <pc:docMk/>
            <pc:sldMk cId="1723101856" sldId="1146"/>
            <ac:cxnSpMk id="8" creationId="{BB06E4FD-4FF8-37F4-04EE-538B5CFC4401}"/>
          </ac:cxnSpMkLst>
        </pc:cxnChg>
      </pc:sldChg>
      <pc:sldChg chg="addSp delSp modSp add mod ord delCm modCm">
        <pc:chgData name="Klaudia Gnyla" userId="7fd7bc4b-04b7-46f5-adb4-8d479a07b147" providerId="ADAL" clId="{34B4283B-E526-480A-9AB1-868AB2261910}" dt="2023-01-19T13:24:55.636" v="20212" actId="1076"/>
        <pc:sldMkLst>
          <pc:docMk/>
          <pc:sldMk cId="2584596777" sldId="1147"/>
        </pc:sldMkLst>
        <pc:spChg chg="mod">
          <ac:chgData name="Klaudia Gnyla" userId="7fd7bc4b-04b7-46f5-adb4-8d479a07b147" providerId="ADAL" clId="{34B4283B-E526-480A-9AB1-868AB2261910}" dt="2023-01-04T11:36:25.724" v="12149" actId="20577"/>
          <ac:spMkLst>
            <pc:docMk/>
            <pc:sldMk cId="2584596777" sldId="1147"/>
            <ac:spMk id="3" creationId="{70546F86-255B-F68F-C26B-28388ADBED37}"/>
          </ac:spMkLst>
        </pc:spChg>
        <pc:spChg chg="del">
          <ac:chgData name="Klaudia Gnyla" userId="7fd7bc4b-04b7-46f5-adb4-8d479a07b147" providerId="ADAL" clId="{34B4283B-E526-480A-9AB1-868AB2261910}" dt="2023-01-03T11:43:10.273" v="9080" actId="478"/>
          <ac:spMkLst>
            <pc:docMk/>
            <pc:sldMk cId="2584596777" sldId="1147"/>
            <ac:spMk id="4" creationId="{8D68BF2E-41F9-4963-D825-21EB1B547B2C}"/>
          </ac:spMkLst>
        </pc:spChg>
        <pc:spChg chg="del">
          <ac:chgData name="Klaudia Gnyla" userId="7fd7bc4b-04b7-46f5-adb4-8d479a07b147" providerId="ADAL" clId="{34B4283B-E526-480A-9AB1-868AB2261910}" dt="2023-01-03T11:43:18.070" v="9085" actId="478"/>
          <ac:spMkLst>
            <pc:docMk/>
            <pc:sldMk cId="2584596777" sldId="1147"/>
            <ac:spMk id="5" creationId="{9A75AEC5-C952-3E4B-371B-C7C403CECA3F}"/>
          </ac:spMkLst>
        </pc:spChg>
        <pc:spChg chg="mod">
          <ac:chgData name="Klaudia Gnyla" userId="7fd7bc4b-04b7-46f5-adb4-8d479a07b147" providerId="ADAL" clId="{34B4283B-E526-480A-9AB1-868AB2261910}" dt="2023-01-19T13:24:55.636" v="20212" actId="1076"/>
          <ac:spMkLst>
            <pc:docMk/>
            <pc:sldMk cId="2584596777" sldId="1147"/>
            <ac:spMk id="6" creationId="{7005A0D3-8593-065E-8B86-4213A6AF534B}"/>
          </ac:spMkLst>
        </pc:spChg>
        <pc:spChg chg="mod">
          <ac:chgData name="Klaudia Gnyla" userId="7fd7bc4b-04b7-46f5-adb4-8d479a07b147" providerId="ADAL" clId="{34B4283B-E526-480A-9AB1-868AB2261910}" dt="2023-01-18T15:17:45.436" v="18082" actId="207"/>
          <ac:spMkLst>
            <pc:docMk/>
            <pc:sldMk cId="2584596777" sldId="1147"/>
            <ac:spMk id="7" creationId="{AE3DDE9B-6C58-23F0-8AB2-5CE20D1AC457}"/>
          </ac:spMkLst>
        </pc:spChg>
        <pc:spChg chg="add mod">
          <ac:chgData name="Klaudia Gnyla" userId="7fd7bc4b-04b7-46f5-adb4-8d479a07b147" providerId="ADAL" clId="{34B4283B-E526-480A-9AB1-868AB2261910}" dt="2023-01-03T13:34:46.524" v="10324" actId="20577"/>
          <ac:spMkLst>
            <pc:docMk/>
            <pc:sldMk cId="2584596777" sldId="1147"/>
            <ac:spMk id="8" creationId="{AEE39F5A-F29B-C8A1-55F7-1D6416E5CDEA}"/>
          </ac:spMkLst>
        </pc:spChg>
        <pc:spChg chg="del">
          <ac:chgData name="Klaudia Gnyla" userId="7fd7bc4b-04b7-46f5-adb4-8d479a07b147" providerId="ADAL" clId="{34B4283B-E526-480A-9AB1-868AB2261910}" dt="2023-01-03T11:43:12.054" v="9082" actId="478"/>
          <ac:spMkLst>
            <pc:docMk/>
            <pc:sldMk cId="2584596777" sldId="1147"/>
            <ac:spMk id="11" creationId="{DDC8931A-4DFF-831E-0031-8674FFB79595}"/>
          </ac:spMkLst>
        </pc:spChg>
        <pc:spChg chg="del">
          <ac:chgData name="Klaudia Gnyla" userId="7fd7bc4b-04b7-46f5-adb4-8d479a07b147" providerId="ADAL" clId="{34B4283B-E526-480A-9AB1-868AB2261910}" dt="2023-01-03T11:43:15.194" v="9083" actId="478"/>
          <ac:spMkLst>
            <pc:docMk/>
            <pc:sldMk cId="2584596777" sldId="1147"/>
            <ac:spMk id="12" creationId="{D75B5BEA-16EB-30B7-4FC1-F387BEB173F2}"/>
          </ac:spMkLst>
        </pc:spChg>
        <pc:spChg chg="add mod">
          <ac:chgData name="Klaudia Gnyla" userId="7fd7bc4b-04b7-46f5-adb4-8d479a07b147" providerId="ADAL" clId="{34B4283B-E526-480A-9AB1-868AB2261910}" dt="2023-01-03T14:10:03.529" v="10596" actId="1076"/>
          <ac:spMkLst>
            <pc:docMk/>
            <pc:sldMk cId="2584596777" sldId="1147"/>
            <ac:spMk id="16" creationId="{C8E0F163-4614-4C97-166E-3726F1B33890}"/>
          </ac:spMkLst>
        </pc:spChg>
        <pc:spChg chg="add mod">
          <ac:chgData name="Klaudia Gnyla" userId="7fd7bc4b-04b7-46f5-adb4-8d479a07b147" providerId="ADAL" clId="{34B4283B-E526-480A-9AB1-868AB2261910}" dt="2023-01-10T15:46:09.874" v="12501" actId="20577"/>
          <ac:spMkLst>
            <pc:docMk/>
            <pc:sldMk cId="2584596777" sldId="1147"/>
            <ac:spMk id="17" creationId="{34003FE2-EF15-AD9A-4C1A-8CF4D83FB6E5}"/>
          </ac:spMkLst>
        </pc:spChg>
        <pc:spChg chg="add del mod">
          <ac:chgData name="Klaudia Gnyla" userId="7fd7bc4b-04b7-46f5-adb4-8d479a07b147" providerId="ADAL" clId="{34B4283B-E526-480A-9AB1-868AB2261910}" dt="2023-01-03T14:09:13.931" v="10585" actId="478"/>
          <ac:spMkLst>
            <pc:docMk/>
            <pc:sldMk cId="2584596777" sldId="1147"/>
            <ac:spMk id="18" creationId="{3EA7418C-355C-573C-D941-36040D96C067}"/>
          </ac:spMkLst>
        </pc:spChg>
        <pc:graphicFrameChg chg="del">
          <ac:chgData name="Klaudia Gnyla" userId="7fd7bc4b-04b7-46f5-adb4-8d479a07b147" providerId="ADAL" clId="{34B4283B-E526-480A-9AB1-868AB2261910}" dt="2023-01-03T11:43:23.352" v="9086" actId="478"/>
          <ac:graphicFrameMkLst>
            <pc:docMk/>
            <pc:sldMk cId="2584596777" sldId="1147"/>
            <ac:graphicFrameMk id="13" creationId="{F8C24172-EF7F-BD6C-E13C-87672D0B6348}"/>
          </ac:graphicFrameMkLst>
        </pc:graphicFrameChg>
        <pc:graphicFrameChg chg="add mod">
          <ac:chgData name="Klaudia Gnyla" userId="7fd7bc4b-04b7-46f5-adb4-8d479a07b147" providerId="ADAL" clId="{34B4283B-E526-480A-9AB1-868AB2261910}" dt="2023-01-04T09:29:55.803" v="11338"/>
          <ac:graphicFrameMkLst>
            <pc:docMk/>
            <pc:sldMk cId="2584596777" sldId="1147"/>
            <ac:graphicFrameMk id="15" creationId="{490AD1E4-E127-39CD-F5B0-1E3773B52740}"/>
          </ac:graphicFrameMkLst>
        </pc:graphicFrameChg>
        <pc:graphicFrameChg chg="add del mod">
          <ac:chgData name="Klaudia Gnyla" userId="7fd7bc4b-04b7-46f5-adb4-8d479a07b147" providerId="ADAL" clId="{34B4283B-E526-480A-9AB1-868AB2261910}" dt="2023-01-03T14:09:10.071" v="10584" actId="478"/>
          <ac:graphicFrameMkLst>
            <pc:docMk/>
            <pc:sldMk cId="2584596777" sldId="1147"/>
            <ac:graphicFrameMk id="21" creationId="{5B73E67B-582B-04E5-ADD5-7BE602E64BB7}"/>
          </ac:graphicFrameMkLst>
        </pc:graphicFrameChg>
        <pc:picChg chg="add del mod">
          <ac:chgData name="Klaudia Gnyla" userId="7fd7bc4b-04b7-46f5-adb4-8d479a07b147" providerId="ADAL" clId="{34B4283B-E526-480A-9AB1-868AB2261910}" dt="2023-01-03T11:49:35.603" v="9150" actId="478"/>
          <ac:picMkLst>
            <pc:docMk/>
            <pc:sldMk cId="2584596777" sldId="1147"/>
            <ac:picMk id="10" creationId="{43AB8143-F15E-4CE7-39F5-C561BB010B9B}"/>
          </ac:picMkLst>
        </pc:picChg>
        <pc:picChg chg="add del">
          <ac:chgData name="Klaudia Gnyla" userId="7fd7bc4b-04b7-46f5-adb4-8d479a07b147" providerId="ADAL" clId="{34B4283B-E526-480A-9AB1-868AB2261910}" dt="2023-01-03T13:11:01.572" v="9820" actId="478"/>
          <ac:picMkLst>
            <pc:docMk/>
            <pc:sldMk cId="2584596777" sldId="1147"/>
            <ac:picMk id="20" creationId="{75250459-A5D2-8B89-27B2-474B24128619}"/>
          </ac:picMkLst>
        </pc:picChg>
        <pc:cxnChg chg="add del">
          <ac:chgData name="Klaudia Gnyla" userId="7fd7bc4b-04b7-46f5-adb4-8d479a07b147" providerId="ADAL" clId="{34B4283B-E526-480A-9AB1-868AB2261910}" dt="2023-01-11T13:42:15.170" v="12841" actId="11529"/>
          <ac:cxnSpMkLst>
            <pc:docMk/>
            <pc:sldMk cId="2584596777" sldId="1147"/>
            <ac:cxnSpMk id="5" creationId="{65F09F26-5CD8-FE32-4607-6652D3B8AACD}"/>
          </ac:cxnSpMkLst>
        </pc:cxnChg>
        <pc:cxnChg chg="add mod">
          <ac:chgData name="Klaudia Gnyla" userId="7fd7bc4b-04b7-46f5-adb4-8d479a07b147" providerId="ADAL" clId="{34B4283B-E526-480A-9AB1-868AB2261910}" dt="2023-01-11T13:42:36.128" v="12844" actId="208"/>
          <ac:cxnSpMkLst>
            <pc:docMk/>
            <pc:sldMk cId="2584596777" sldId="1147"/>
            <ac:cxnSpMk id="10" creationId="{FC35A3DF-6A41-AF4E-DB35-26911ECA430A}"/>
          </ac:cxnSpMkLst>
        </pc:cxnChg>
      </pc:sldChg>
      <pc:sldChg chg="addSp delSp modSp add mod ord delCm modCm">
        <pc:chgData name="Klaudia Gnyla" userId="7fd7bc4b-04b7-46f5-adb4-8d479a07b147" providerId="ADAL" clId="{34B4283B-E526-480A-9AB1-868AB2261910}" dt="2023-01-18T09:37:55.687" v="14858"/>
        <pc:sldMkLst>
          <pc:docMk/>
          <pc:sldMk cId="155345028" sldId="1148"/>
        </pc:sldMkLst>
        <pc:spChg chg="mod">
          <ac:chgData name="Klaudia Gnyla" userId="7fd7bc4b-04b7-46f5-adb4-8d479a07b147" providerId="ADAL" clId="{34B4283B-E526-480A-9AB1-868AB2261910}" dt="2023-01-04T11:36:39.517" v="12160" actId="20577"/>
          <ac:spMkLst>
            <pc:docMk/>
            <pc:sldMk cId="155345028" sldId="1148"/>
            <ac:spMk id="3" creationId="{70546F86-255B-F68F-C26B-28388ADBED37}"/>
          </ac:spMkLst>
        </pc:spChg>
        <pc:spChg chg="mod">
          <ac:chgData name="Klaudia Gnyla" userId="7fd7bc4b-04b7-46f5-adb4-8d479a07b147" providerId="ADAL" clId="{34B4283B-E526-480A-9AB1-868AB2261910}" dt="2023-01-03T13:15:01.262" v="10045" actId="20577"/>
          <ac:spMkLst>
            <pc:docMk/>
            <pc:sldMk cId="155345028" sldId="1148"/>
            <ac:spMk id="4" creationId="{8D68BF2E-41F9-4963-D825-21EB1B547B2C}"/>
          </ac:spMkLst>
        </pc:spChg>
        <pc:spChg chg="del">
          <ac:chgData name="Klaudia Gnyla" userId="7fd7bc4b-04b7-46f5-adb4-8d479a07b147" providerId="ADAL" clId="{34B4283B-E526-480A-9AB1-868AB2261910}" dt="2023-01-03T13:08:51.772" v="9816" actId="478"/>
          <ac:spMkLst>
            <pc:docMk/>
            <pc:sldMk cId="155345028" sldId="1148"/>
            <ac:spMk id="5" creationId="{9A75AEC5-C952-3E4B-371B-C7C403CECA3F}"/>
          </ac:spMkLst>
        </pc:spChg>
        <pc:spChg chg="mod">
          <ac:chgData name="Klaudia Gnyla" userId="7fd7bc4b-04b7-46f5-adb4-8d479a07b147" providerId="ADAL" clId="{34B4283B-E526-480A-9AB1-868AB2261910}" dt="2023-01-18T09:11:17.353" v="14856" actId="207"/>
          <ac:spMkLst>
            <pc:docMk/>
            <pc:sldMk cId="155345028" sldId="1148"/>
            <ac:spMk id="7" creationId="{AE3DDE9B-6C58-23F0-8AB2-5CE20D1AC457}"/>
          </ac:spMkLst>
        </pc:spChg>
        <pc:spChg chg="add mod">
          <ac:chgData name="Klaudia Gnyla" userId="7fd7bc4b-04b7-46f5-adb4-8d479a07b147" providerId="ADAL" clId="{34B4283B-E526-480A-9AB1-868AB2261910}" dt="2023-01-03T13:33:44.981" v="10320" actId="1076"/>
          <ac:spMkLst>
            <pc:docMk/>
            <pc:sldMk cId="155345028" sldId="1148"/>
            <ac:spMk id="9" creationId="{4CD4382F-4ADD-F453-CA35-7B0803364FEC}"/>
          </ac:spMkLst>
        </pc:spChg>
        <pc:spChg chg="del">
          <ac:chgData name="Klaudia Gnyla" userId="7fd7bc4b-04b7-46f5-adb4-8d479a07b147" providerId="ADAL" clId="{34B4283B-E526-480A-9AB1-868AB2261910}" dt="2023-01-03T13:08:48.795" v="9813" actId="478"/>
          <ac:spMkLst>
            <pc:docMk/>
            <pc:sldMk cId="155345028" sldId="1148"/>
            <ac:spMk id="11" creationId="{DDC8931A-4DFF-831E-0031-8674FFB79595}"/>
          </ac:spMkLst>
        </pc:spChg>
        <pc:spChg chg="del">
          <ac:chgData name="Klaudia Gnyla" userId="7fd7bc4b-04b7-46f5-adb4-8d479a07b147" providerId="ADAL" clId="{34B4283B-E526-480A-9AB1-868AB2261910}" dt="2023-01-03T13:08:50.266" v="9814" actId="478"/>
          <ac:spMkLst>
            <pc:docMk/>
            <pc:sldMk cId="155345028" sldId="1148"/>
            <ac:spMk id="12" creationId="{D75B5BEA-16EB-30B7-4FC1-F387BEB173F2}"/>
          </ac:spMkLst>
        </pc:spChg>
        <pc:graphicFrameChg chg="del">
          <ac:chgData name="Klaudia Gnyla" userId="7fd7bc4b-04b7-46f5-adb4-8d479a07b147" providerId="ADAL" clId="{34B4283B-E526-480A-9AB1-868AB2261910}" dt="2023-01-03T13:08:45.965" v="9812" actId="478"/>
          <ac:graphicFrameMkLst>
            <pc:docMk/>
            <pc:sldMk cId="155345028" sldId="1148"/>
            <ac:graphicFrameMk id="13" creationId="{F8C24172-EF7F-BD6C-E13C-87672D0B6348}"/>
          </ac:graphicFrameMkLst>
        </pc:graphicFrameChg>
        <pc:picChg chg="add mod">
          <ac:chgData name="Klaudia Gnyla" userId="7fd7bc4b-04b7-46f5-adb4-8d479a07b147" providerId="ADAL" clId="{34B4283B-E526-480A-9AB1-868AB2261910}" dt="2023-01-03T13:34:35.029" v="10322" actId="1076"/>
          <ac:picMkLst>
            <pc:docMk/>
            <pc:sldMk cId="155345028" sldId="1148"/>
            <ac:picMk id="8" creationId="{7CE153FD-0E04-C6D5-D410-537CDA660778}"/>
          </ac:picMkLst>
        </pc:picChg>
      </pc:sldChg>
      <pc:sldChg chg="addSp delSp modSp add del mod delCm">
        <pc:chgData name="Klaudia Gnyla" userId="7fd7bc4b-04b7-46f5-adb4-8d479a07b147" providerId="ADAL" clId="{34B4283B-E526-480A-9AB1-868AB2261910}" dt="2023-01-19T13:47:39.973" v="20290" actId="20577"/>
        <pc:sldMkLst>
          <pc:docMk/>
          <pc:sldMk cId="1476040436" sldId="1149"/>
        </pc:sldMkLst>
        <pc:spChg chg="mod">
          <ac:chgData name="Klaudia Gnyla" userId="7fd7bc4b-04b7-46f5-adb4-8d479a07b147" providerId="ADAL" clId="{34B4283B-E526-480A-9AB1-868AB2261910}" dt="2023-01-04T11:36:54.850" v="12212" actId="20577"/>
          <ac:spMkLst>
            <pc:docMk/>
            <pc:sldMk cId="1476040436" sldId="1149"/>
            <ac:spMk id="3" creationId="{70546F86-255B-F68F-C26B-28388ADBED37}"/>
          </ac:spMkLst>
        </pc:spChg>
        <pc:spChg chg="add mod">
          <ac:chgData name="Klaudia Gnyla" userId="7fd7bc4b-04b7-46f5-adb4-8d479a07b147" providerId="ADAL" clId="{34B4283B-E526-480A-9AB1-868AB2261910}" dt="2023-01-18T15:45:03.061" v="18178" actId="14100"/>
          <ac:spMkLst>
            <pc:docMk/>
            <pc:sldMk cId="1476040436" sldId="1149"/>
            <ac:spMk id="4" creationId="{88C16D41-55CD-2CE3-F3F6-8267B3A2996F}"/>
          </ac:spMkLst>
        </pc:spChg>
        <pc:spChg chg="add mod">
          <ac:chgData name="Klaudia Gnyla" userId="7fd7bc4b-04b7-46f5-adb4-8d479a07b147" providerId="ADAL" clId="{34B4283B-E526-480A-9AB1-868AB2261910}" dt="2023-01-18T12:37:26.305" v="16416" actId="1035"/>
          <ac:spMkLst>
            <pc:docMk/>
            <pc:sldMk cId="1476040436" sldId="1149"/>
            <ac:spMk id="5" creationId="{8AE210C4-B42A-17EF-3A5D-72865DDA6935}"/>
          </ac:spMkLst>
        </pc:spChg>
        <pc:spChg chg="mod">
          <ac:chgData name="Klaudia Gnyla" userId="7fd7bc4b-04b7-46f5-adb4-8d479a07b147" providerId="ADAL" clId="{34B4283B-E526-480A-9AB1-868AB2261910}" dt="2023-01-18T15:44:59.610" v="18177" actId="1076"/>
          <ac:spMkLst>
            <pc:docMk/>
            <pc:sldMk cId="1476040436" sldId="1149"/>
            <ac:spMk id="6" creationId="{7005A0D3-8593-065E-8B86-4213A6AF534B}"/>
          </ac:spMkLst>
        </pc:spChg>
        <pc:spChg chg="mod">
          <ac:chgData name="Klaudia Gnyla" userId="7fd7bc4b-04b7-46f5-adb4-8d479a07b147" providerId="ADAL" clId="{34B4283B-E526-480A-9AB1-868AB2261910}" dt="2023-01-18T13:46:18.482" v="16754" actId="1036"/>
          <ac:spMkLst>
            <pc:docMk/>
            <pc:sldMk cId="1476040436" sldId="1149"/>
            <ac:spMk id="7" creationId="{AE3DDE9B-6C58-23F0-8AB2-5CE20D1AC457}"/>
          </ac:spMkLst>
        </pc:spChg>
        <pc:spChg chg="mod">
          <ac:chgData name="Klaudia Gnyla" userId="7fd7bc4b-04b7-46f5-adb4-8d479a07b147" providerId="ADAL" clId="{34B4283B-E526-480A-9AB1-868AB2261910}" dt="2023-01-19T13:47:39.973" v="20290" actId="20577"/>
          <ac:spMkLst>
            <pc:docMk/>
            <pc:sldMk cId="1476040436" sldId="1149"/>
            <ac:spMk id="8" creationId="{AEE39F5A-F29B-C8A1-55F7-1D6416E5CDEA}"/>
          </ac:spMkLst>
        </pc:spChg>
        <pc:spChg chg="add mod">
          <ac:chgData name="Klaudia Gnyla" userId="7fd7bc4b-04b7-46f5-adb4-8d479a07b147" providerId="ADAL" clId="{34B4283B-E526-480A-9AB1-868AB2261910}" dt="2023-01-18T12:33:57.663" v="16041" actId="1076"/>
          <ac:spMkLst>
            <pc:docMk/>
            <pc:sldMk cId="1476040436" sldId="1149"/>
            <ac:spMk id="9" creationId="{6CEF7FED-5D82-3B6F-0162-4F634D50D18A}"/>
          </ac:spMkLst>
        </pc:spChg>
        <pc:spChg chg="del">
          <ac:chgData name="Klaudia Gnyla" userId="7fd7bc4b-04b7-46f5-adb4-8d479a07b147" providerId="ADAL" clId="{34B4283B-E526-480A-9AB1-868AB2261910}" dt="2023-01-03T14:10:44.094" v="10599" actId="478"/>
          <ac:spMkLst>
            <pc:docMk/>
            <pc:sldMk cId="1476040436" sldId="1149"/>
            <ac:spMk id="16" creationId="{C8E0F163-4614-4C97-166E-3726F1B33890}"/>
          </ac:spMkLst>
        </pc:spChg>
        <pc:spChg chg="del">
          <ac:chgData name="Klaudia Gnyla" userId="7fd7bc4b-04b7-46f5-adb4-8d479a07b147" providerId="ADAL" clId="{34B4283B-E526-480A-9AB1-868AB2261910}" dt="2023-01-03T14:10:46.380" v="10600" actId="478"/>
          <ac:spMkLst>
            <pc:docMk/>
            <pc:sldMk cId="1476040436" sldId="1149"/>
            <ac:spMk id="17" creationId="{34003FE2-EF15-AD9A-4C1A-8CF4D83FB6E5}"/>
          </ac:spMkLst>
        </pc:spChg>
        <pc:spChg chg="del mod">
          <ac:chgData name="Klaudia Gnyla" userId="7fd7bc4b-04b7-46f5-adb4-8d479a07b147" providerId="ADAL" clId="{34B4283B-E526-480A-9AB1-868AB2261910}" dt="2023-01-03T14:12:16.471" v="10607" actId="478"/>
          <ac:spMkLst>
            <pc:docMk/>
            <pc:sldMk cId="1476040436" sldId="1149"/>
            <ac:spMk id="18" creationId="{3EA7418C-355C-573C-D941-36040D96C067}"/>
          </ac:spMkLst>
        </pc:spChg>
        <pc:graphicFrameChg chg="del mod">
          <ac:chgData name="Klaudia Gnyla" userId="7fd7bc4b-04b7-46f5-adb4-8d479a07b147" providerId="ADAL" clId="{34B4283B-E526-480A-9AB1-868AB2261910}" dt="2023-01-03T14:10:41.623" v="10598" actId="478"/>
          <ac:graphicFrameMkLst>
            <pc:docMk/>
            <pc:sldMk cId="1476040436" sldId="1149"/>
            <ac:graphicFrameMk id="15" creationId="{490AD1E4-E127-39CD-F5B0-1E3773B52740}"/>
          </ac:graphicFrameMkLst>
        </pc:graphicFrameChg>
        <pc:graphicFrameChg chg="mod">
          <ac:chgData name="Klaudia Gnyla" userId="7fd7bc4b-04b7-46f5-adb4-8d479a07b147" providerId="ADAL" clId="{34B4283B-E526-480A-9AB1-868AB2261910}" dt="2023-01-18T12:09:23.468" v="15565" actId="20577"/>
          <ac:graphicFrameMkLst>
            <pc:docMk/>
            <pc:sldMk cId="1476040436" sldId="1149"/>
            <ac:graphicFrameMk id="21" creationId="{5B73E67B-582B-04E5-ADD5-7BE602E64BB7}"/>
          </ac:graphicFrameMkLst>
        </pc:graphicFrameChg>
      </pc:sldChg>
      <pc:sldChg chg="delSp new del mod">
        <pc:chgData name="Klaudia Gnyla" userId="7fd7bc4b-04b7-46f5-adb4-8d479a07b147" providerId="ADAL" clId="{34B4283B-E526-480A-9AB1-868AB2261910}" dt="2023-01-13T13:36:26.307" v="13351" actId="47"/>
        <pc:sldMkLst>
          <pc:docMk/>
          <pc:sldMk cId="637857069" sldId="1150"/>
        </pc:sldMkLst>
        <pc:spChg chg="del">
          <ac:chgData name="Klaudia Gnyla" userId="7fd7bc4b-04b7-46f5-adb4-8d479a07b147" providerId="ADAL" clId="{34B4283B-E526-480A-9AB1-868AB2261910}" dt="2023-01-13T13:36:11.733" v="13349" actId="478"/>
          <ac:spMkLst>
            <pc:docMk/>
            <pc:sldMk cId="637857069" sldId="1150"/>
            <ac:spMk id="2" creationId="{B9FF524A-BF2F-107A-EC10-24F2C904D19B}"/>
          </ac:spMkLst>
        </pc:spChg>
      </pc:sldChg>
      <pc:sldChg chg="addSp delSp modSp add del mod ord">
        <pc:chgData name="Klaudia Gnyla" userId="7fd7bc4b-04b7-46f5-adb4-8d479a07b147" providerId="ADAL" clId="{34B4283B-E526-480A-9AB1-868AB2261910}" dt="2023-01-11T12:21:19.681" v="12748" actId="47"/>
        <pc:sldMkLst>
          <pc:docMk/>
          <pc:sldMk cId="2642843648" sldId="1150"/>
        </pc:sldMkLst>
        <pc:spChg chg="mod">
          <ac:chgData name="Klaudia Gnyla" userId="7fd7bc4b-04b7-46f5-adb4-8d479a07b147" providerId="ADAL" clId="{34B4283B-E526-480A-9AB1-868AB2261910}" dt="2023-01-10T15:27:20.029" v="12491" actId="20577"/>
          <ac:spMkLst>
            <pc:docMk/>
            <pc:sldMk cId="2642843648" sldId="1150"/>
            <ac:spMk id="3" creationId="{380AF6ED-6F8F-CF56-7408-9E8F8F470546}"/>
          </ac:spMkLst>
        </pc:spChg>
        <pc:spChg chg="del">
          <ac:chgData name="Klaudia Gnyla" userId="7fd7bc4b-04b7-46f5-adb4-8d479a07b147" providerId="ADAL" clId="{34B4283B-E526-480A-9AB1-868AB2261910}" dt="2023-01-10T15:27:05.536" v="12466" actId="478"/>
          <ac:spMkLst>
            <pc:docMk/>
            <pc:sldMk cId="2642843648" sldId="1150"/>
            <ac:spMk id="6" creationId="{D60EF0FD-DC4B-BD10-2C97-554604BA1289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7" creationId="{AF8728B1-6805-0C07-95EE-F7E1D9F8E0A3}"/>
          </ac:spMkLst>
        </pc:spChg>
        <pc:spChg chg="del">
          <ac:chgData name="Klaudia Gnyla" userId="7fd7bc4b-04b7-46f5-adb4-8d479a07b147" providerId="ADAL" clId="{34B4283B-E526-480A-9AB1-868AB2261910}" dt="2023-01-10T15:27:05.536" v="12466" actId="478"/>
          <ac:spMkLst>
            <pc:docMk/>
            <pc:sldMk cId="2642843648" sldId="1150"/>
            <ac:spMk id="20" creationId="{9FFFF452-C413-6938-2A9A-BDED0E3B6913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22" creationId="{133A204D-490E-8556-07C6-859732929F40}"/>
          </ac:spMkLst>
        </pc:spChg>
        <pc:spChg chg="del">
          <ac:chgData name="Klaudia Gnyla" userId="7fd7bc4b-04b7-46f5-adb4-8d479a07b147" providerId="ADAL" clId="{34B4283B-E526-480A-9AB1-868AB2261910}" dt="2023-01-10T15:27:12.121" v="12467" actId="478"/>
          <ac:spMkLst>
            <pc:docMk/>
            <pc:sldMk cId="2642843648" sldId="1150"/>
            <ac:spMk id="23" creationId="{65F442DE-678F-1146-D1FF-6E1E57EB04D1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25" creationId="{4D91B3A9-7480-970A-D5AB-7A19196E5DEE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26" creationId="{077B3501-1055-4D1B-4025-1DC664530B5B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27" creationId="{4743D595-0C07-1A15-A211-CC7F24C33318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28" creationId="{CBA47265-6F41-9958-584D-225E1CB6848A}"/>
          </ac:spMkLst>
        </pc:spChg>
        <pc:spChg chg="del">
          <ac:chgData name="Klaudia Gnyla" userId="7fd7bc4b-04b7-46f5-adb4-8d479a07b147" providerId="ADAL" clId="{34B4283B-E526-480A-9AB1-868AB2261910}" dt="2023-01-10T15:26:57.261" v="12463" actId="478"/>
          <ac:spMkLst>
            <pc:docMk/>
            <pc:sldMk cId="2642843648" sldId="1150"/>
            <ac:spMk id="29" creationId="{2C8873F7-E63D-BACE-EED3-E99F91F773F3}"/>
          </ac:spMkLst>
        </pc:spChg>
        <pc:spChg chg="mod">
          <ac:chgData name="Klaudia Gnyla" userId="7fd7bc4b-04b7-46f5-adb4-8d479a07b147" providerId="ADAL" clId="{34B4283B-E526-480A-9AB1-868AB2261910}" dt="2023-01-10T15:27:01.076" v="12465" actId="1076"/>
          <ac:spMkLst>
            <pc:docMk/>
            <pc:sldMk cId="2642843648" sldId="1150"/>
            <ac:spMk id="30" creationId="{3FF95B4E-BF07-322E-8710-35CD265E86BB}"/>
          </ac:spMkLst>
        </pc:spChg>
        <pc:picChg chg="del">
          <ac:chgData name="Klaudia Gnyla" userId="7fd7bc4b-04b7-46f5-adb4-8d479a07b147" providerId="ADAL" clId="{34B4283B-E526-480A-9AB1-868AB2261910}" dt="2023-01-10T15:26:51.822" v="12460" actId="478"/>
          <ac:picMkLst>
            <pc:docMk/>
            <pc:sldMk cId="2642843648" sldId="1150"/>
            <ac:picMk id="8" creationId="{A7D2029F-31A3-2170-87C6-EE1029D9DF4B}"/>
          </ac:picMkLst>
        </pc:picChg>
        <pc:picChg chg="del">
          <ac:chgData name="Klaudia Gnyla" userId="7fd7bc4b-04b7-46f5-adb4-8d479a07b147" providerId="ADAL" clId="{34B4283B-E526-480A-9AB1-868AB2261910}" dt="2023-01-10T15:26:54.295" v="12462" actId="478"/>
          <ac:picMkLst>
            <pc:docMk/>
            <pc:sldMk cId="2642843648" sldId="1150"/>
            <ac:picMk id="9" creationId="{AE079706-C8BA-9D82-1818-8266919DAE1A}"/>
          </ac:picMkLst>
        </pc:picChg>
        <pc:picChg chg="del">
          <ac:chgData name="Klaudia Gnyla" userId="7fd7bc4b-04b7-46f5-adb4-8d479a07b147" providerId="ADAL" clId="{34B4283B-E526-480A-9AB1-868AB2261910}" dt="2023-01-10T15:26:52.672" v="12461" actId="478"/>
          <ac:picMkLst>
            <pc:docMk/>
            <pc:sldMk cId="2642843648" sldId="1150"/>
            <ac:picMk id="10" creationId="{E3ADA6DC-CDBA-3750-52C7-A235D8586B8A}"/>
          </ac:picMkLst>
        </pc:picChg>
        <pc:picChg chg="del">
          <ac:chgData name="Klaudia Gnyla" userId="7fd7bc4b-04b7-46f5-adb4-8d479a07b147" providerId="ADAL" clId="{34B4283B-E526-480A-9AB1-868AB2261910}" dt="2023-01-10T15:26:57.261" v="12463" actId="478"/>
          <ac:picMkLst>
            <pc:docMk/>
            <pc:sldMk cId="2642843648" sldId="1150"/>
            <ac:picMk id="11" creationId="{3FD804FF-EC8F-8EA3-A16F-B3BA823C75C2}"/>
          </ac:picMkLst>
        </pc:picChg>
        <pc:picChg chg="del">
          <ac:chgData name="Klaudia Gnyla" userId="7fd7bc4b-04b7-46f5-adb4-8d479a07b147" providerId="ADAL" clId="{34B4283B-E526-480A-9AB1-868AB2261910}" dt="2023-01-10T15:26:57.261" v="12463" actId="478"/>
          <ac:picMkLst>
            <pc:docMk/>
            <pc:sldMk cId="2642843648" sldId="1150"/>
            <ac:picMk id="12" creationId="{DF8C97AF-027B-39CB-619A-7B94812BC252}"/>
          </ac:picMkLst>
        </pc:picChg>
        <pc:picChg chg="del">
          <ac:chgData name="Klaudia Gnyla" userId="7fd7bc4b-04b7-46f5-adb4-8d479a07b147" providerId="ADAL" clId="{34B4283B-E526-480A-9AB1-868AB2261910}" dt="2023-01-10T15:26:57.261" v="12463" actId="478"/>
          <ac:picMkLst>
            <pc:docMk/>
            <pc:sldMk cId="2642843648" sldId="1150"/>
            <ac:picMk id="13" creationId="{23325FDD-4389-678A-5CCF-7EC57FC6E974}"/>
          </ac:picMkLst>
        </pc:picChg>
        <pc:picChg chg="add mod">
          <ac:chgData name="Klaudia Gnyla" userId="7fd7bc4b-04b7-46f5-adb4-8d479a07b147" providerId="ADAL" clId="{34B4283B-E526-480A-9AB1-868AB2261910}" dt="2023-01-11T12:08:37.473" v="12699" actId="1076"/>
          <ac:picMkLst>
            <pc:docMk/>
            <pc:sldMk cId="2642843648" sldId="1150"/>
            <ac:picMk id="1026" creationId="{D74859B6-41CA-8513-EA5D-553ECA529190}"/>
          </ac:picMkLst>
        </pc:picChg>
        <pc:cxnChg chg="del">
          <ac:chgData name="Klaudia Gnyla" userId="7fd7bc4b-04b7-46f5-adb4-8d479a07b147" providerId="ADAL" clId="{34B4283B-E526-480A-9AB1-868AB2261910}" dt="2023-01-10T15:26:57.261" v="12463" actId="478"/>
          <ac:cxnSpMkLst>
            <pc:docMk/>
            <pc:sldMk cId="2642843648" sldId="1150"/>
            <ac:cxnSpMk id="5" creationId="{1D7B4B56-2458-ECFE-498A-506C19FB6296}"/>
          </ac:cxnSpMkLst>
        </pc:cxnChg>
        <pc:cxnChg chg="del">
          <ac:chgData name="Klaudia Gnyla" userId="7fd7bc4b-04b7-46f5-adb4-8d479a07b147" providerId="ADAL" clId="{34B4283B-E526-480A-9AB1-868AB2261910}" dt="2023-01-10T15:26:57.261" v="12463" actId="478"/>
          <ac:cxnSpMkLst>
            <pc:docMk/>
            <pc:sldMk cId="2642843648" sldId="1150"/>
            <ac:cxnSpMk id="16" creationId="{3504633B-84F5-745A-C6D3-2C8E352BFF6B}"/>
          </ac:cxnSpMkLst>
        </pc:cxnChg>
        <pc:cxnChg chg="del">
          <ac:chgData name="Klaudia Gnyla" userId="7fd7bc4b-04b7-46f5-adb4-8d479a07b147" providerId="ADAL" clId="{34B4283B-E526-480A-9AB1-868AB2261910}" dt="2023-01-10T15:26:57.261" v="12463" actId="478"/>
          <ac:cxnSpMkLst>
            <pc:docMk/>
            <pc:sldMk cId="2642843648" sldId="1150"/>
            <ac:cxnSpMk id="17" creationId="{E691FC48-0894-EDF4-5908-DFBB9360CABF}"/>
          </ac:cxnSpMkLst>
        </pc:cxnChg>
      </pc:sldChg>
      <pc:sldChg chg="addSp delSp modSp add mod">
        <pc:chgData name="Klaudia Gnyla" userId="7fd7bc4b-04b7-46f5-adb4-8d479a07b147" providerId="ADAL" clId="{34B4283B-E526-480A-9AB1-868AB2261910}" dt="2023-01-19T13:23:21.337" v="20211" actId="20577"/>
        <pc:sldMkLst>
          <pc:docMk/>
          <pc:sldMk cId="2833304210" sldId="1151"/>
        </pc:sldMkLst>
        <pc:spChg chg="mod">
          <ac:chgData name="Klaudia Gnyla" userId="7fd7bc4b-04b7-46f5-adb4-8d479a07b147" providerId="ADAL" clId="{34B4283B-E526-480A-9AB1-868AB2261910}" dt="2023-01-13T13:36:53.718" v="13375" actId="20577"/>
          <ac:spMkLst>
            <pc:docMk/>
            <pc:sldMk cId="2833304210" sldId="1151"/>
            <ac:spMk id="3" creationId="{70546F86-255B-F68F-C26B-28388ADBED37}"/>
          </ac:spMkLst>
        </pc:spChg>
        <pc:spChg chg="add mod">
          <ac:chgData name="Klaudia Gnyla" userId="7fd7bc4b-04b7-46f5-adb4-8d479a07b147" providerId="ADAL" clId="{34B4283B-E526-480A-9AB1-868AB2261910}" dt="2023-01-19T13:23:21.337" v="20211" actId="20577"/>
          <ac:spMkLst>
            <pc:docMk/>
            <pc:sldMk cId="2833304210" sldId="1151"/>
            <ac:spMk id="4" creationId="{F13BF67F-39D8-608B-5781-7D228B9E7F3D}"/>
          </ac:spMkLst>
        </pc:spChg>
        <pc:spChg chg="add del mod">
          <ac:chgData name="Klaudia Gnyla" userId="7fd7bc4b-04b7-46f5-adb4-8d479a07b147" providerId="ADAL" clId="{34B4283B-E526-480A-9AB1-868AB2261910}" dt="2023-01-19T12:32:50.610" v="18508" actId="20577"/>
          <ac:spMkLst>
            <pc:docMk/>
            <pc:sldMk cId="2833304210" sldId="1151"/>
            <ac:spMk id="8" creationId="{AEE39F5A-F29B-C8A1-55F7-1D6416E5CDEA}"/>
          </ac:spMkLst>
        </pc:spChg>
        <pc:graphicFrameChg chg="del">
          <ac:chgData name="Klaudia Gnyla" userId="7fd7bc4b-04b7-46f5-adb4-8d479a07b147" providerId="ADAL" clId="{34B4283B-E526-480A-9AB1-868AB2261910}" dt="2023-01-13T13:36:30.106" v="13352" actId="478"/>
          <ac:graphicFrameMkLst>
            <pc:docMk/>
            <pc:sldMk cId="2833304210" sldId="1151"/>
            <ac:graphicFrameMk id="21" creationId="{5B73E67B-582B-04E5-ADD5-7BE602E64BB7}"/>
          </ac:graphicFrameMkLst>
        </pc:graphicFrameChg>
      </pc:sldChg>
      <pc:sldChg chg="addSp delSp modSp new mod">
        <pc:chgData name="Klaudia Gnyla" userId="7fd7bc4b-04b7-46f5-adb4-8d479a07b147" providerId="ADAL" clId="{34B4283B-E526-480A-9AB1-868AB2261910}" dt="2023-01-19T11:24:02.079" v="18484" actId="20577"/>
        <pc:sldMkLst>
          <pc:docMk/>
          <pc:sldMk cId="2782971473" sldId="1152"/>
        </pc:sldMkLst>
        <pc:spChg chg="del">
          <ac:chgData name="Klaudia Gnyla" userId="7fd7bc4b-04b7-46f5-adb4-8d479a07b147" providerId="ADAL" clId="{34B4283B-E526-480A-9AB1-868AB2261910}" dt="2023-01-18T12:43:16.248" v="16420" actId="478"/>
          <ac:spMkLst>
            <pc:docMk/>
            <pc:sldMk cId="2782971473" sldId="1152"/>
            <ac:spMk id="2" creationId="{8B4D12D0-3153-88AB-EC99-24E2B84EE790}"/>
          </ac:spMkLst>
        </pc:spChg>
        <pc:spChg chg="del mod">
          <ac:chgData name="Klaudia Gnyla" userId="7fd7bc4b-04b7-46f5-adb4-8d479a07b147" providerId="ADAL" clId="{34B4283B-E526-480A-9AB1-868AB2261910}" dt="2023-01-18T12:43:18.816" v="16422" actId="478"/>
          <ac:spMkLst>
            <pc:docMk/>
            <pc:sldMk cId="2782971473" sldId="1152"/>
            <ac:spMk id="3" creationId="{25039126-7024-235F-D5E3-80F10BFAD290}"/>
          </ac:spMkLst>
        </pc:spChg>
        <pc:spChg chg="add mod">
          <ac:chgData name="Klaudia Gnyla" userId="7fd7bc4b-04b7-46f5-adb4-8d479a07b147" providerId="ADAL" clId="{34B4283B-E526-480A-9AB1-868AB2261910}" dt="2023-01-18T14:23:00.959" v="17466" actId="1035"/>
          <ac:spMkLst>
            <pc:docMk/>
            <pc:sldMk cId="2782971473" sldId="1152"/>
            <ac:spMk id="4" creationId="{0E087400-E709-A9CB-7BA5-0686C73DCE05}"/>
          </ac:spMkLst>
        </pc:spChg>
        <pc:spChg chg="add mod">
          <ac:chgData name="Klaudia Gnyla" userId="7fd7bc4b-04b7-46f5-adb4-8d479a07b147" providerId="ADAL" clId="{34B4283B-E526-480A-9AB1-868AB2261910}" dt="2023-01-18T12:43:34.572" v="16424"/>
          <ac:spMkLst>
            <pc:docMk/>
            <pc:sldMk cId="2782971473" sldId="1152"/>
            <ac:spMk id="5" creationId="{9953E569-D6F2-1DBC-29B1-82437DE795F6}"/>
          </ac:spMkLst>
        </pc:spChg>
        <pc:spChg chg="add mod">
          <ac:chgData name="Klaudia Gnyla" userId="7fd7bc4b-04b7-46f5-adb4-8d479a07b147" providerId="ADAL" clId="{34B4283B-E526-480A-9AB1-868AB2261910}" dt="2023-01-18T13:43:13.955" v="16715" actId="14100"/>
          <ac:spMkLst>
            <pc:docMk/>
            <pc:sldMk cId="2782971473" sldId="1152"/>
            <ac:spMk id="6" creationId="{AAB337D5-6509-3EA4-D229-BD4D499E4D60}"/>
          </ac:spMkLst>
        </pc:spChg>
        <pc:spChg chg="add mod">
          <ac:chgData name="Klaudia Gnyla" userId="7fd7bc4b-04b7-46f5-adb4-8d479a07b147" providerId="ADAL" clId="{34B4283B-E526-480A-9AB1-868AB2261910}" dt="2023-01-18T14:23:12.265" v="17488" actId="207"/>
          <ac:spMkLst>
            <pc:docMk/>
            <pc:sldMk cId="2782971473" sldId="1152"/>
            <ac:spMk id="11" creationId="{09CF23E9-2185-EA21-F989-8984FCCAFB5E}"/>
          </ac:spMkLst>
        </pc:spChg>
        <pc:spChg chg="add mod">
          <ac:chgData name="Klaudia Gnyla" userId="7fd7bc4b-04b7-46f5-adb4-8d479a07b147" providerId="ADAL" clId="{34B4283B-E526-480A-9AB1-868AB2261910}" dt="2023-01-18T13:53:58.415" v="17020" actId="14100"/>
          <ac:spMkLst>
            <pc:docMk/>
            <pc:sldMk cId="2782971473" sldId="1152"/>
            <ac:spMk id="12" creationId="{8DC1C033-75E9-1D04-F182-001F98285C4C}"/>
          </ac:spMkLst>
        </pc:spChg>
        <pc:spChg chg="add mod">
          <ac:chgData name="Klaudia Gnyla" userId="7fd7bc4b-04b7-46f5-adb4-8d479a07b147" providerId="ADAL" clId="{34B4283B-E526-480A-9AB1-868AB2261910}" dt="2023-01-18T13:53:47.503" v="17018" actId="14100"/>
          <ac:spMkLst>
            <pc:docMk/>
            <pc:sldMk cId="2782971473" sldId="1152"/>
            <ac:spMk id="13" creationId="{51F3ACB6-9F52-9766-95F7-633B621881CD}"/>
          </ac:spMkLst>
        </pc:spChg>
        <pc:spChg chg="add mod">
          <ac:chgData name="Klaudia Gnyla" userId="7fd7bc4b-04b7-46f5-adb4-8d479a07b147" providerId="ADAL" clId="{34B4283B-E526-480A-9AB1-868AB2261910}" dt="2023-01-19T11:24:02.079" v="18484" actId="20577"/>
          <ac:spMkLst>
            <pc:docMk/>
            <pc:sldMk cId="2782971473" sldId="1152"/>
            <ac:spMk id="16" creationId="{F884701D-03FE-3E19-224F-FF8ED4456B2E}"/>
          </ac:spMkLst>
        </pc:spChg>
        <pc:spChg chg="add mod">
          <ac:chgData name="Klaudia Gnyla" userId="7fd7bc4b-04b7-46f5-adb4-8d479a07b147" providerId="ADAL" clId="{34B4283B-E526-480A-9AB1-868AB2261910}" dt="2023-01-18T14:22:43.274" v="17453" actId="20577"/>
          <ac:spMkLst>
            <pc:docMk/>
            <pc:sldMk cId="2782971473" sldId="1152"/>
            <ac:spMk id="19" creationId="{5FC8574D-A6E1-5AE5-F0EF-4ACA955F22DB}"/>
          </ac:spMkLst>
        </pc:spChg>
        <pc:picChg chg="add mod">
          <ac:chgData name="Klaudia Gnyla" userId="7fd7bc4b-04b7-46f5-adb4-8d479a07b147" providerId="ADAL" clId="{34B4283B-E526-480A-9AB1-868AB2261910}" dt="2023-01-18T13:49:08.722" v="16764" actId="1076"/>
          <ac:picMkLst>
            <pc:docMk/>
            <pc:sldMk cId="2782971473" sldId="1152"/>
            <ac:picMk id="8" creationId="{7819C106-C380-9C2B-79D4-E7A921D533F6}"/>
          </ac:picMkLst>
        </pc:picChg>
        <pc:picChg chg="add mod">
          <ac:chgData name="Klaudia Gnyla" userId="7fd7bc4b-04b7-46f5-adb4-8d479a07b147" providerId="ADAL" clId="{34B4283B-E526-480A-9AB1-868AB2261910}" dt="2023-01-18T13:46:34.475" v="16763" actId="1036"/>
          <ac:picMkLst>
            <pc:docMk/>
            <pc:sldMk cId="2782971473" sldId="1152"/>
            <ac:picMk id="10" creationId="{4F3AB690-3B88-12D4-C6C4-5ABC07420696}"/>
          </ac:picMkLst>
        </pc:picChg>
        <pc:picChg chg="add mod">
          <ac:chgData name="Klaudia Gnyla" userId="7fd7bc4b-04b7-46f5-adb4-8d479a07b147" providerId="ADAL" clId="{34B4283B-E526-480A-9AB1-868AB2261910}" dt="2023-01-18T14:21:22.746" v="17404" actId="1076"/>
          <ac:picMkLst>
            <pc:docMk/>
            <pc:sldMk cId="2782971473" sldId="1152"/>
            <ac:picMk id="18" creationId="{09630E64-779F-830E-BE78-DFDE35095B8F}"/>
          </ac:picMkLst>
        </pc:picChg>
        <pc:cxnChg chg="add mod">
          <ac:chgData name="Klaudia Gnyla" userId="7fd7bc4b-04b7-46f5-adb4-8d479a07b147" providerId="ADAL" clId="{34B4283B-E526-480A-9AB1-868AB2261910}" dt="2023-01-18T13:54:43.040" v="17029" actId="1036"/>
          <ac:cxnSpMkLst>
            <pc:docMk/>
            <pc:sldMk cId="2782971473" sldId="1152"/>
            <ac:cxnSpMk id="15" creationId="{88302B89-42E5-95A8-8E95-4DA10C4B7632}"/>
          </ac:cxnSpMkLst>
        </pc:cxnChg>
      </pc:sldChg>
      <pc:sldChg chg="addSp delSp modSp new mod">
        <pc:chgData name="Klaudia Gnyla" userId="7fd7bc4b-04b7-46f5-adb4-8d479a07b147" providerId="ADAL" clId="{34B4283B-E526-480A-9AB1-868AB2261910}" dt="2023-01-18T15:15:56.519" v="18038" actId="1076"/>
        <pc:sldMkLst>
          <pc:docMk/>
          <pc:sldMk cId="2304023712" sldId="1153"/>
        </pc:sldMkLst>
        <pc:spChg chg="del">
          <ac:chgData name="Klaudia Gnyla" userId="7fd7bc4b-04b7-46f5-adb4-8d479a07b147" providerId="ADAL" clId="{34B4283B-E526-480A-9AB1-868AB2261910}" dt="2023-01-18T14:23:32.460" v="17491" actId="478"/>
          <ac:spMkLst>
            <pc:docMk/>
            <pc:sldMk cId="2304023712" sldId="1153"/>
            <ac:spMk id="2" creationId="{082BDDCA-3ED2-27AB-3A16-17FE7B3FFB0C}"/>
          </ac:spMkLst>
        </pc:spChg>
        <pc:spChg chg="del">
          <ac:chgData name="Klaudia Gnyla" userId="7fd7bc4b-04b7-46f5-adb4-8d479a07b147" providerId="ADAL" clId="{34B4283B-E526-480A-9AB1-868AB2261910}" dt="2023-01-18T14:23:34.122" v="17492" actId="478"/>
          <ac:spMkLst>
            <pc:docMk/>
            <pc:sldMk cId="2304023712" sldId="1153"/>
            <ac:spMk id="3" creationId="{5BD58F6C-2699-8C1E-AA1B-2720748F08F1}"/>
          </ac:spMkLst>
        </pc:spChg>
        <pc:spChg chg="add mod">
          <ac:chgData name="Klaudia Gnyla" userId="7fd7bc4b-04b7-46f5-adb4-8d479a07b147" providerId="ADAL" clId="{34B4283B-E526-480A-9AB1-868AB2261910}" dt="2023-01-18T14:23:29.826" v="17490"/>
          <ac:spMkLst>
            <pc:docMk/>
            <pc:sldMk cId="2304023712" sldId="1153"/>
            <ac:spMk id="4" creationId="{6E47741F-03B1-0256-F299-D512DB07B946}"/>
          </ac:spMkLst>
        </pc:spChg>
        <pc:spChg chg="add mod">
          <ac:chgData name="Klaudia Gnyla" userId="7fd7bc4b-04b7-46f5-adb4-8d479a07b147" providerId="ADAL" clId="{34B4283B-E526-480A-9AB1-868AB2261910}" dt="2023-01-18T14:23:38.676" v="17493"/>
          <ac:spMkLst>
            <pc:docMk/>
            <pc:sldMk cId="2304023712" sldId="1153"/>
            <ac:spMk id="5" creationId="{C5152013-73B7-8B67-8EB9-71D4F6A80156}"/>
          </ac:spMkLst>
        </pc:spChg>
        <pc:spChg chg="add mod">
          <ac:chgData name="Klaudia Gnyla" userId="7fd7bc4b-04b7-46f5-adb4-8d479a07b147" providerId="ADAL" clId="{34B4283B-E526-480A-9AB1-868AB2261910}" dt="2023-01-18T15:14:23.737" v="17941" actId="20577"/>
          <ac:spMkLst>
            <pc:docMk/>
            <pc:sldMk cId="2304023712" sldId="1153"/>
            <ac:spMk id="6" creationId="{FB8D34BE-C67C-6BC6-CA37-B6F9493E816F}"/>
          </ac:spMkLst>
        </pc:spChg>
        <pc:spChg chg="add mod">
          <ac:chgData name="Klaudia Gnyla" userId="7fd7bc4b-04b7-46f5-adb4-8d479a07b147" providerId="ADAL" clId="{34B4283B-E526-480A-9AB1-868AB2261910}" dt="2023-01-18T14:59:14.195" v="17583" actId="207"/>
          <ac:spMkLst>
            <pc:docMk/>
            <pc:sldMk cId="2304023712" sldId="1153"/>
            <ac:spMk id="7" creationId="{7A5B7829-8EE4-5ECA-5508-9C2482055EF6}"/>
          </ac:spMkLst>
        </pc:spChg>
        <pc:spChg chg="add mod">
          <ac:chgData name="Klaudia Gnyla" userId="7fd7bc4b-04b7-46f5-adb4-8d479a07b147" providerId="ADAL" clId="{34B4283B-E526-480A-9AB1-868AB2261910}" dt="2023-01-18T15:15:06.528" v="18031" actId="20577"/>
          <ac:spMkLst>
            <pc:docMk/>
            <pc:sldMk cId="2304023712" sldId="1153"/>
            <ac:spMk id="8" creationId="{466447F4-63D0-2173-A76D-372126364D8C}"/>
          </ac:spMkLst>
        </pc:spChg>
        <pc:picChg chg="add mod">
          <ac:chgData name="Klaudia Gnyla" userId="7fd7bc4b-04b7-46f5-adb4-8d479a07b147" providerId="ADAL" clId="{34B4283B-E526-480A-9AB1-868AB2261910}" dt="2023-01-18T15:15:29.466" v="18033" actId="1076"/>
          <ac:picMkLst>
            <pc:docMk/>
            <pc:sldMk cId="2304023712" sldId="1153"/>
            <ac:picMk id="10" creationId="{E6FDB016-C82D-6A7B-9C1B-14FB499C6C9B}"/>
          </ac:picMkLst>
        </pc:picChg>
        <pc:picChg chg="add mod">
          <ac:chgData name="Klaudia Gnyla" userId="7fd7bc4b-04b7-46f5-adb4-8d479a07b147" providerId="ADAL" clId="{34B4283B-E526-480A-9AB1-868AB2261910}" dt="2023-01-18T15:15:43.096" v="18035" actId="1076"/>
          <ac:picMkLst>
            <pc:docMk/>
            <pc:sldMk cId="2304023712" sldId="1153"/>
            <ac:picMk id="12" creationId="{DF79F983-56CE-66FF-4A37-E4FF92E6A87F}"/>
          </ac:picMkLst>
        </pc:picChg>
        <pc:picChg chg="add del mod">
          <ac:chgData name="Klaudia Gnyla" userId="7fd7bc4b-04b7-46f5-adb4-8d479a07b147" providerId="ADAL" clId="{34B4283B-E526-480A-9AB1-868AB2261910}" dt="2023-01-18T15:07:43.288" v="17909" actId="478"/>
          <ac:picMkLst>
            <pc:docMk/>
            <pc:sldMk cId="2304023712" sldId="1153"/>
            <ac:picMk id="14" creationId="{5B4EEE4E-345C-F4C7-DF54-F1796880C645}"/>
          </ac:picMkLst>
        </pc:picChg>
        <pc:picChg chg="add mod">
          <ac:chgData name="Klaudia Gnyla" userId="7fd7bc4b-04b7-46f5-adb4-8d479a07b147" providerId="ADAL" clId="{34B4283B-E526-480A-9AB1-868AB2261910}" dt="2023-01-18T15:15:56.519" v="18038" actId="1076"/>
          <ac:picMkLst>
            <pc:docMk/>
            <pc:sldMk cId="2304023712" sldId="1153"/>
            <ac:picMk id="16" creationId="{07DD895E-398D-A57B-EAF4-AA64435BDEAE}"/>
          </ac:picMkLst>
        </pc:picChg>
        <pc:picChg chg="add mod">
          <ac:chgData name="Klaudia Gnyla" userId="7fd7bc4b-04b7-46f5-adb4-8d479a07b147" providerId="ADAL" clId="{34B4283B-E526-480A-9AB1-868AB2261910}" dt="2023-01-18T14:38:58.282" v="17549" actId="1076"/>
          <ac:picMkLst>
            <pc:docMk/>
            <pc:sldMk cId="2304023712" sldId="1153"/>
            <ac:picMk id="1026" creationId="{ED1D3273-CD0E-F6CD-6B24-861523AEE9FF}"/>
          </ac:picMkLst>
        </pc:picChg>
      </pc:sldChg>
      <pc:sldChg chg="addSp delSp modSp new del mod ord">
        <pc:chgData name="Klaudia Gnyla" userId="7fd7bc4b-04b7-46f5-adb4-8d479a07b147" providerId="ADAL" clId="{34B4283B-E526-480A-9AB1-868AB2261910}" dt="2023-01-19T13:20:47.002" v="20192" actId="47"/>
        <pc:sldMkLst>
          <pc:docMk/>
          <pc:sldMk cId="1781744438" sldId="1154"/>
        </pc:sldMkLst>
        <pc:spChg chg="del">
          <ac:chgData name="Klaudia Gnyla" userId="7fd7bc4b-04b7-46f5-adb4-8d479a07b147" providerId="ADAL" clId="{34B4283B-E526-480A-9AB1-868AB2261910}" dt="2023-01-19T13:13:43.625" v="20110" actId="478"/>
          <ac:spMkLst>
            <pc:docMk/>
            <pc:sldMk cId="1781744438" sldId="1154"/>
            <ac:spMk id="2" creationId="{3F435C82-13D8-028E-F1D4-A930CF1C7A6A}"/>
          </ac:spMkLst>
        </pc:spChg>
        <pc:spChg chg="del">
          <ac:chgData name="Klaudia Gnyla" userId="7fd7bc4b-04b7-46f5-adb4-8d479a07b147" providerId="ADAL" clId="{34B4283B-E526-480A-9AB1-868AB2261910}" dt="2023-01-19T13:13:46.075" v="20111" actId="478"/>
          <ac:spMkLst>
            <pc:docMk/>
            <pc:sldMk cId="1781744438" sldId="1154"/>
            <ac:spMk id="3" creationId="{1FBBCB32-4090-5E01-301A-2C62821DF91C}"/>
          </ac:spMkLst>
        </pc:spChg>
        <pc:spChg chg="add mod">
          <ac:chgData name="Klaudia Gnyla" userId="7fd7bc4b-04b7-46f5-adb4-8d479a07b147" providerId="ADAL" clId="{34B4283B-E526-480A-9AB1-868AB2261910}" dt="2023-01-19T13:13:40.882" v="20109"/>
          <ac:spMkLst>
            <pc:docMk/>
            <pc:sldMk cId="1781744438" sldId="1154"/>
            <ac:spMk id="4" creationId="{9BA5347A-6449-A007-706A-BAA5F44E5596}"/>
          </ac:spMkLst>
        </pc:spChg>
        <pc:spChg chg="add mod">
          <ac:chgData name="Klaudia Gnyla" userId="7fd7bc4b-04b7-46f5-adb4-8d479a07b147" providerId="ADAL" clId="{34B4283B-E526-480A-9AB1-868AB2261910}" dt="2023-01-19T13:13:52.321" v="20112"/>
          <ac:spMkLst>
            <pc:docMk/>
            <pc:sldMk cId="1781744438" sldId="1154"/>
            <ac:spMk id="5" creationId="{A350EA6F-54F9-139C-2769-423E4B9C89D8}"/>
          </ac:spMkLst>
        </pc:spChg>
        <pc:spChg chg="add mod">
          <ac:chgData name="Klaudia Gnyla" userId="7fd7bc4b-04b7-46f5-adb4-8d479a07b147" providerId="ADAL" clId="{34B4283B-E526-480A-9AB1-868AB2261910}" dt="2023-01-19T13:19:01.113" v="20191" actId="5793"/>
          <ac:spMkLst>
            <pc:docMk/>
            <pc:sldMk cId="1781744438" sldId="1154"/>
            <ac:spMk id="6" creationId="{4D1315F0-7172-2AA3-C5B2-FEF8764D61F1}"/>
          </ac:spMkLst>
        </pc:spChg>
        <pc:picChg chg="add mod">
          <ac:chgData name="Klaudia Gnyla" userId="7fd7bc4b-04b7-46f5-adb4-8d479a07b147" providerId="ADAL" clId="{34B4283B-E526-480A-9AB1-868AB2261910}" dt="2023-01-19T13:17:46.816" v="20187" actId="1038"/>
          <ac:picMkLst>
            <pc:docMk/>
            <pc:sldMk cId="1781744438" sldId="1154"/>
            <ac:picMk id="8" creationId="{24BA9966-F264-514B-4759-5B698772FC08}"/>
          </ac:picMkLst>
        </pc:picChg>
      </pc:sldChg>
      <pc:sldMasterChg chg="modSldLayout">
        <pc:chgData name="Klaudia Gnyla" userId="7fd7bc4b-04b7-46f5-adb4-8d479a07b147" providerId="ADAL" clId="{34B4283B-E526-480A-9AB1-868AB2261910}" dt="2022-12-06T13:05:20.185" v="4014"/>
        <pc:sldMasterMkLst>
          <pc:docMk/>
          <pc:sldMasterMk cId="632098372" sldId="2147483703"/>
        </pc:sldMasterMkLst>
        <pc:sldLayoutChg chg="addSp">
          <pc:chgData name="Klaudia Gnyla" userId="7fd7bc4b-04b7-46f5-adb4-8d479a07b147" providerId="ADAL" clId="{34B4283B-E526-480A-9AB1-868AB2261910}" dt="2022-12-06T13:05:20.185" v="4014"/>
          <pc:sldLayoutMkLst>
            <pc:docMk/>
            <pc:sldMasterMk cId="632098372" sldId="2147483703"/>
            <pc:sldLayoutMk cId="4134525306" sldId="2147483710"/>
          </pc:sldLayoutMkLst>
          <pc:spChg chg="add">
            <ac:chgData name="Klaudia Gnyla" userId="7fd7bc4b-04b7-46f5-adb4-8d479a07b147" providerId="ADAL" clId="{34B4283B-E526-480A-9AB1-868AB2261910}" dt="2022-12-06T13:05:20.185" v="4014"/>
            <ac:spMkLst>
              <pc:docMk/>
              <pc:sldMasterMk cId="632098372" sldId="2147483703"/>
              <pc:sldLayoutMk cId="4134525306" sldId="2147483710"/>
              <ac:spMk id="5" creationId="{D8F13302-5463-E5B8-690E-6B6827414930}"/>
            </ac:spMkLst>
          </pc:spChg>
          <pc:grpChg chg="add">
            <ac:chgData name="Klaudia Gnyla" userId="7fd7bc4b-04b7-46f5-adb4-8d479a07b147" providerId="ADAL" clId="{34B4283B-E526-480A-9AB1-868AB2261910}" dt="2022-12-06T13:05:20.185" v="4014"/>
            <ac:grpSpMkLst>
              <pc:docMk/>
              <pc:sldMasterMk cId="632098372" sldId="2147483703"/>
              <pc:sldLayoutMk cId="4134525306" sldId="2147483710"/>
              <ac:grpSpMk id="6" creationId="{03B5FE6B-DA73-863A-A74C-914EE53DD3F3}"/>
            </ac:grpSpMkLst>
          </pc:gr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laudiaGnyla\Downloads\solar-pv-power-generation-in-the-net-zero-scenario-2010-2030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 dirty="0">
                <a:solidFill>
                  <a:schemeClr val="bg1"/>
                </a:solidFill>
              </a:rPr>
              <a:t>Power </a:t>
            </a:r>
            <a:r>
              <a:rPr lang="de-DE" b="1" dirty="0" err="1">
                <a:solidFill>
                  <a:schemeClr val="bg1"/>
                </a:solidFill>
              </a:rPr>
              <a:t>generation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from</a:t>
            </a:r>
            <a:r>
              <a:rPr lang="de-DE" b="1" dirty="0">
                <a:solidFill>
                  <a:schemeClr val="bg1"/>
                </a:solidFill>
              </a:rPr>
              <a:t> solar PV</a:t>
            </a:r>
          </a:p>
        </c:rich>
      </c:tx>
      <c:layout>
        <c:manualLayout>
          <c:xMode val="edge"/>
          <c:yMode val="edge"/>
          <c:x val="0.32284098301011016"/>
          <c:y val="3.03850048452250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cat>
            <c:numRef>
              <c:f>'solar-pv-power-generation-in-th'!$B$5:$B$25</c:f>
              <c:numCache>
                <c:formatCode>General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'solar-pv-power-generation-in-th'!$C$5:$C$25</c:f>
              <c:numCache>
                <c:formatCode>0.00</c:formatCode>
                <c:ptCount val="21"/>
                <c:pt idx="0">
                  <c:v>32.200000000000003</c:v>
                </c:pt>
                <c:pt idx="1">
                  <c:v>63.8</c:v>
                </c:pt>
                <c:pt idx="2">
                  <c:v>99</c:v>
                </c:pt>
                <c:pt idx="3">
                  <c:v>139.6</c:v>
                </c:pt>
                <c:pt idx="4">
                  <c:v>190.2</c:v>
                </c:pt>
                <c:pt idx="5">
                  <c:v>250.6</c:v>
                </c:pt>
                <c:pt idx="6">
                  <c:v>329.1</c:v>
                </c:pt>
                <c:pt idx="7">
                  <c:v>443.4</c:v>
                </c:pt>
                <c:pt idx="8">
                  <c:v>588.79999999999995</c:v>
                </c:pt>
                <c:pt idx="9">
                  <c:v>679</c:v>
                </c:pt>
                <c:pt idx="10">
                  <c:v>823.8</c:v>
                </c:pt>
                <c:pt idx="11">
                  <c:v>1002.9</c:v>
                </c:pt>
                <c:pt idx="20">
                  <c:v>741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2B-45F1-99FB-1E0731F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6933071"/>
        <c:axId val="6928911"/>
      </c:barChart>
      <c:catAx>
        <c:axId val="6933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928911"/>
        <c:crosses val="autoZero"/>
        <c:auto val="1"/>
        <c:lblAlgn val="ctr"/>
        <c:lblOffset val="100"/>
        <c:noMultiLvlLbl val="0"/>
      </c:catAx>
      <c:valAx>
        <c:axId val="6928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>
                    <a:solidFill>
                      <a:schemeClr val="bg1"/>
                    </a:solidFill>
                  </a:rPr>
                  <a:t>Energy, TWh</a:t>
                </a:r>
              </a:p>
            </c:rich>
          </c:tx>
          <c:layout>
            <c:manualLayout>
              <c:xMode val="edge"/>
              <c:yMode val="edge"/>
              <c:x val="1.944437984394946E-2"/>
              <c:y val="0.388204992919241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933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PP Telegraf"/>
                <a:ea typeface="+mn-ea"/>
                <a:cs typeface="+mn-cs"/>
              </a:defRPr>
            </a:pPr>
            <a:r>
              <a:rPr lang="de-DE" b="1" dirty="0"/>
              <a:t>Top 10 Countries </a:t>
            </a:r>
            <a:r>
              <a:rPr lang="de-DE" b="1" dirty="0" err="1"/>
              <a:t>That</a:t>
            </a:r>
            <a:r>
              <a:rPr lang="de-DE" b="1" dirty="0"/>
              <a:t> </a:t>
            </a:r>
            <a:r>
              <a:rPr lang="de-DE" b="1" dirty="0" err="1"/>
              <a:t>Produce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Most Solar Power  </a:t>
            </a:r>
          </a:p>
          <a:p>
            <a:pPr>
              <a:defRPr/>
            </a:pPr>
            <a:r>
              <a:rPr lang="de-DE" b="1" dirty="0"/>
              <a:t> (GW,2021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PP Telegraf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D2-4C22-A7EC-038989A9568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D2-4C22-A7EC-038989A95689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D2-4C22-A7EC-038989A95689}"/>
              </c:ext>
            </c:extLst>
          </c:dPt>
          <c:cat>
            <c:strRef>
              <c:f>Tabelle1!$A$10:$A$19</c:f>
              <c:strCache>
                <c:ptCount val="10"/>
                <c:pt idx="0">
                  <c:v>China</c:v>
                </c:pt>
                <c:pt idx="1">
                  <c:v>U.S.</c:v>
                </c:pt>
                <c:pt idx="2">
                  <c:v>Japan</c:v>
                </c:pt>
                <c:pt idx="3">
                  <c:v>Germany</c:v>
                </c:pt>
                <c:pt idx="4">
                  <c:v>India</c:v>
                </c:pt>
                <c:pt idx="5">
                  <c:v>Italy</c:v>
                </c:pt>
                <c:pt idx="6">
                  <c:v>Australia</c:v>
                </c:pt>
                <c:pt idx="7">
                  <c:v>South Korea</c:v>
                </c:pt>
                <c:pt idx="8">
                  <c:v>Vietnam</c:v>
                </c:pt>
                <c:pt idx="9">
                  <c:v>Spain</c:v>
                </c:pt>
              </c:strCache>
            </c:strRef>
          </c:cat>
          <c:val>
            <c:numRef>
              <c:f>Tabelle1!$B$10:$B$19</c:f>
              <c:numCache>
                <c:formatCode>General</c:formatCode>
                <c:ptCount val="10"/>
                <c:pt idx="0">
                  <c:v>306.97300000000001</c:v>
                </c:pt>
                <c:pt idx="1">
                  <c:v>95.209000000000003</c:v>
                </c:pt>
                <c:pt idx="2">
                  <c:v>74.191000000000003</c:v>
                </c:pt>
                <c:pt idx="3">
                  <c:v>58.460999999999999</c:v>
                </c:pt>
                <c:pt idx="4">
                  <c:v>49.683999999999997</c:v>
                </c:pt>
                <c:pt idx="5">
                  <c:v>22.698</c:v>
                </c:pt>
                <c:pt idx="6">
                  <c:v>19.076000000000001</c:v>
                </c:pt>
                <c:pt idx="7">
                  <c:v>18.161000000000001</c:v>
                </c:pt>
                <c:pt idx="8">
                  <c:v>16.66</c:v>
                </c:pt>
                <c:pt idx="9">
                  <c:v>15.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D2-4C22-A7EC-038989A956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12718208"/>
        <c:axId val="2112717376"/>
      </c:barChart>
      <c:catAx>
        <c:axId val="2112718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PP Telegraf"/>
                <a:ea typeface="+mn-ea"/>
                <a:cs typeface="+mn-cs"/>
              </a:defRPr>
            </a:pPr>
            <a:endParaRPr lang="de-DE"/>
          </a:p>
        </c:txPr>
        <c:crossAx val="2112717376"/>
        <c:crosses val="autoZero"/>
        <c:auto val="1"/>
        <c:lblAlgn val="ctr"/>
        <c:lblOffset val="100"/>
        <c:noMultiLvlLbl val="0"/>
      </c:catAx>
      <c:valAx>
        <c:axId val="2112717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PP Telegraf"/>
                <a:ea typeface="+mn-ea"/>
                <a:cs typeface="+mn-cs"/>
              </a:defRPr>
            </a:pPr>
            <a:endParaRPr lang="de-DE"/>
          </a:p>
        </c:txPr>
        <c:crossAx val="2112718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  <a:latin typeface="PP Telegraf"/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b="1" dirty="0" err="1">
                <a:solidFill>
                  <a:schemeClr val="bg1"/>
                </a:solidFill>
              </a:rPr>
              <a:t>Perovskite</a:t>
            </a:r>
            <a:r>
              <a:rPr lang="de-DE" sz="1400" b="1" dirty="0">
                <a:solidFill>
                  <a:schemeClr val="bg1"/>
                </a:solidFill>
              </a:rPr>
              <a:t> Solar </a:t>
            </a:r>
            <a:r>
              <a:rPr lang="de-DE" sz="1400" b="1" dirty="0" err="1">
                <a:solidFill>
                  <a:schemeClr val="bg1"/>
                </a:solidFill>
              </a:rPr>
              <a:t>Cell</a:t>
            </a:r>
            <a:r>
              <a:rPr lang="de-DE" sz="1400" b="1" dirty="0">
                <a:solidFill>
                  <a:schemeClr val="bg1"/>
                </a:solidFill>
              </a:rPr>
              <a:t> Market Size, 2021 </a:t>
            </a:r>
            <a:r>
              <a:rPr lang="de-DE" sz="1400" b="1" dirty="0" err="1">
                <a:solidFill>
                  <a:schemeClr val="bg1"/>
                </a:solidFill>
              </a:rPr>
              <a:t>to</a:t>
            </a:r>
            <a:r>
              <a:rPr lang="de-DE" sz="1400" b="1" dirty="0">
                <a:solidFill>
                  <a:schemeClr val="bg1"/>
                </a:solidFill>
              </a:rPr>
              <a:t> 2030 </a:t>
            </a:r>
          </a:p>
          <a:p>
            <a:pPr>
              <a:defRPr/>
            </a:pPr>
            <a:endParaRPr lang="de-DE" dirty="0"/>
          </a:p>
        </c:rich>
      </c:tx>
      <c:layout>
        <c:manualLayout>
          <c:xMode val="edge"/>
          <c:yMode val="edge"/>
          <c:x val="0.23726650459923909"/>
          <c:y val="0.163992929354210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2436518237853213"/>
          <c:y val="0.26261827383855341"/>
          <c:w val="0.84766099167112874"/>
          <c:h val="0.6062587127375366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1:$A$10</c:f>
              <c:numCache>
                <c:formatCode>General</c:formatCode>
                <c:ptCount val="10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</c:numCache>
            </c:numRef>
          </c:cat>
          <c:val>
            <c:numRef>
              <c:f>Tabelle1!$B$1:$B$10</c:f>
              <c:numCache>
                <c:formatCode>General</c:formatCode>
                <c:ptCount val="10"/>
                <c:pt idx="0">
                  <c:v>0.6</c:v>
                </c:pt>
                <c:pt idx="1">
                  <c:v>0.79</c:v>
                </c:pt>
                <c:pt idx="2">
                  <c:v>1.04</c:v>
                </c:pt>
                <c:pt idx="3">
                  <c:v>1.37</c:v>
                </c:pt>
                <c:pt idx="4">
                  <c:v>1.81</c:v>
                </c:pt>
                <c:pt idx="5">
                  <c:v>2.39</c:v>
                </c:pt>
                <c:pt idx="6">
                  <c:v>3.14</c:v>
                </c:pt>
                <c:pt idx="7">
                  <c:v>4.1399999999999997</c:v>
                </c:pt>
                <c:pt idx="8">
                  <c:v>5.46</c:v>
                </c:pt>
                <c:pt idx="9">
                  <c:v>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19-41F9-A6AC-9585E0E30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43505487"/>
        <c:axId val="1743513391"/>
      </c:barChart>
      <c:catAx>
        <c:axId val="1743505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743513391"/>
        <c:crosses val="autoZero"/>
        <c:auto val="1"/>
        <c:lblAlgn val="ctr"/>
        <c:lblOffset val="100"/>
        <c:noMultiLvlLbl val="0"/>
      </c:catAx>
      <c:valAx>
        <c:axId val="1743513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>
                    <a:solidFill>
                      <a:schemeClr val="bg1"/>
                    </a:solidFill>
                  </a:rPr>
                  <a:t>$ Bill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7435054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97865A-3A2D-E445-A117-48650962DF2B}" type="datetimeFigureOut">
              <a:rPr lang="de-DE" smtClean="0"/>
              <a:t>17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AB6AA-DC1A-6640-9DD3-F9D8779F42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995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70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153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7327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24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1992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139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2681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06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458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982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086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048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15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516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6590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AB6AA-DC1A-6640-9DD3-F9D8779F42F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730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>
            <a:extLst>
              <a:ext uri="{FF2B5EF4-FFF2-40B4-BE49-F238E27FC236}">
                <a16:creationId xmlns:a16="http://schemas.microsoft.com/office/drawing/2014/main" id="{6CEAD4A0-6EBF-F24B-9504-6DFE9F129E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633084"/>
            <a:ext cx="11197106" cy="1342547"/>
          </a:xfrm>
        </p:spPr>
        <p:txBody>
          <a:bodyPr lIns="0" tIns="0" rIns="90000" anchor="t">
            <a:noAutofit/>
          </a:bodyPr>
          <a:lstStyle>
            <a:lvl1pPr algn="l">
              <a:lnSpc>
                <a:spcPct val="80000"/>
              </a:lnSpc>
              <a:defRPr sz="5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738A9E5C-F130-D643-8CFF-73EF66D6A4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113195"/>
            <a:ext cx="11197106" cy="365125"/>
          </a:xfrm>
        </p:spPr>
        <p:txBody>
          <a:bodyPr lIns="0" tIns="0">
            <a:noAutofit/>
          </a:bodyPr>
          <a:lstStyle>
            <a:lvl1pPr marL="0" indent="0" algn="l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CF324209-DFFF-5A4E-ACD3-F18F10077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103139" y="3316804"/>
            <a:ext cx="5647267" cy="224392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PP Telegraf" pitchFamily="2" charset="77"/>
              </a:defRPr>
            </a:lvl1pPr>
          </a:lstStyle>
          <a:p>
            <a:endParaRPr lang="de-DE">
              <a:solidFill>
                <a:srgbClr val="EDF4EE"/>
              </a:solidFill>
            </a:endParaRPr>
          </a:p>
        </p:txBody>
      </p:sp>
      <p:sp>
        <p:nvSpPr>
          <p:cNvPr id="57" name="Bildplatzhalter 29">
            <a:extLst>
              <a:ext uri="{FF2B5EF4-FFF2-40B4-BE49-F238E27FC236}">
                <a16:creationId xmlns:a16="http://schemas.microsoft.com/office/drawing/2014/main" id="{CF68F1A1-B138-B54F-9D2D-46A5113C5EA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79900" y="3519488"/>
            <a:ext cx="6759575" cy="333851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r>
              <a:rPr lang="de-DE"/>
              <a:t>Bild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1B3E6E5-C197-D34E-A276-17956F79C686}"/>
              </a:ext>
            </a:extLst>
          </p:cNvPr>
          <p:cNvGrpSpPr/>
          <p:nvPr userDrawn="1"/>
        </p:nvGrpSpPr>
        <p:grpSpPr>
          <a:xfrm>
            <a:off x="479422" y="6290517"/>
            <a:ext cx="1152000" cy="234528"/>
            <a:chOff x="479422" y="6290517"/>
            <a:chExt cx="1152000" cy="234528"/>
          </a:xfrm>
        </p:grpSpPr>
        <p:grpSp>
          <p:nvGrpSpPr>
            <p:cNvPr id="28" name="Grafik 2">
              <a:extLst>
                <a:ext uri="{FF2B5EF4-FFF2-40B4-BE49-F238E27FC236}">
                  <a16:creationId xmlns:a16="http://schemas.microsoft.com/office/drawing/2014/main" id="{2F34B2EC-3694-D542-BAE8-1D080A390758}"/>
                </a:ext>
              </a:extLst>
            </p:cNvPr>
            <p:cNvGrpSpPr/>
            <p:nvPr/>
          </p:nvGrpSpPr>
          <p:grpSpPr>
            <a:xfrm>
              <a:off x="484254" y="6290517"/>
              <a:ext cx="1020470" cy="110346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DB514356-3F0C-274A-A302-CBCDB1AD8FF9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23E56313-272B-694E-A58E-13E20BD48B04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FCB518B5-69B7-8049-89BE-90B9613E3274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 66">
                <a:extLst>
                  <a:ext uri="{FF2B5EF4-FFF2-40B4-BE49-F238E27FC236}">
                    <a16:creationId xmlns:a16="http://schemas.microsoft.com/office/drawing/2014/main" id="{018A9FD9-1067-EB4E-897F-A4F5D017D975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0980E250-AC89-114C-8294-A5249E7C95D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 68">
                <a:extLst>
                  <a:ext uri="{FF2B5EF4-FFF2-40B4-BE49-F238E27FC236}">
                    <a16:creationId xmlns:a16="http://schemas.microsoft.com/office/drawing/2014/main" id="{34CCE634-59DE-384E-A5C7-FC0C34BF5C4C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 69">
                <a:extLst>
                  <a:ext uri="{FF2B5EF4-FFF2-40B4-BE49-F238E27FC236}">
                    <a16:creationId xmlns:a16="http://schemas.microsoft.com/office/drawing/2014/main" id="{4F8576E7-ECC8-3B47-9116-4062907EBCE9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 70">
                <a:extLst>
                  <a:ext uri="{FF2B5EF4-FFF2-40B4-BE49-F238E27FC236}">
                    <a16:creationId xmlns:a16="http://schemas.microsoft.com/office/drawing/2014/main" id="{F8AD35D5-C16F-1441-8257-8B66F7B44F13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 71">
                <a:extLst>
                  <a:ext uri="{FF2B5EF4-FFF2-40B4-BE49-F238E27FC236}">
                    <a16:creationId xmlns:a16="http://schemas.microsoft.com/office/drawing/2014/main" id="{6B30A2A9-08EE-174E-BE95-EBF2E6DF21B8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9" name="Grafik 2">
              <a:extLst>
                <a:ext uri="{FF2B5EF4-FFF2-40B4-BE49-F238E27FC236}">
                  <a16:creationId xmlns:a16="http://schemas.microsoft.com/office/drawing/2014/main" id="{37428EF0-9763-C84C-BEF9-06CC53CBCAF7}"/>
                </a:ext>
              </a:extLst>
            </p:cNvPr>
            <p:cNvGrpSpPr/>
            <p:nvPr/>
          </p:nvGrpSpPr>
          <p:grpSpPr>
            <a:xfrm>
              <a:off x="479422" y="6305046"/>
              <a:ext cx="1152000" cy="219999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30" name="Freihandform 29">
                <a:extLst>
                  <a:ext uri="{FF2B5EF4-FFF2-40B4-BE49-F238E27FC236}">
                    <a16:creationId xmlns:a16="http://schemas.microsoft.com/office/drawing/2014/main" id="{333775B9-6BD1-9646-866C-8029AE1C0B76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 30">
                <a:extLst>
                  <a:ext uri="{FF2B5EF4-FFF2-40B4-BE49-F238E27FC236}">
                    <a16:creationId xmlns:a16="http://schemas.microsoft.com/office/drawing/2014/main" id="{AF777F2A-BD62-B741-81B9-9A28F3EB5790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2775A962-BB44-624E-A116-2A4FBA37522E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47A08E8E-DA21-2749-A40D-014D6F57241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577316FA-31E8-FF4D-8352-7DC4ABA18E8A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C4016FAD-6B81-B944-9F01-86D590F4D98F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6D9FBDD5-D5D6-4C4C-BE13-EEC89572AE2E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713B8AD8-0D42-2045-B599-AA9640F9E0FF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05579D57-88B5-C347-86EF-B165006A4851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66626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spaltig mi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3" y="333884"/>
            <a:ext cx="10388873" cy="365125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56" y="333884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6" name="Bildplatzhalter 34">
            <a:extLst>
              <a:ext uri="{FF2B5EF4-FFF2-40B4-BE49-F238E27FC236}">
                <a16:creationId xmlns:a16="http://schemas.microsoft.com/office/drawing/2014/main" id="{7472C51C-3F1C-3146-A9EA-9D0AEE8D8C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2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7E0000EB-1BBA-624C-A5CE-232E8290277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79424" y="1786933"/>
            <a:ext cx="11233144" cy="236088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4" name="Bildplatzhalter 34">
            <a:extLst>
              <a:ext uri="{FF2B5EF4-FFF2-40B4-BE49-F238E27FC236}">
                <a16:creationId xmlns:a16="http://schemas.microsoft.com/office/drawing/2014/main" id="{5D270070-4A50-F54C-B5A6-27AB20279208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414072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95" name="Bildplatzhalter 34">
            <a:extLst>
              <a:ext uri="{FF2B5EF4-FFF2-40B4-BE49-F238E27FC236}">
                <a16:creationId xmlns:a16="http://schemas.microsoft.com/office/drawing/2014/main" id="{B03C611E-D7FE-FD42-A97C-8C761195C4D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338445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96" name="Bildplatzhalter 34">
            <a:extLst>
              <a:ext uri="{FF2B5EF4-FFF2-40B4-BE49-F238E27FC236}">
                <a16:creationId xmlns:a16="http://schemas.microsoft.com/office/drawing/2014/main" id="{04B659BB-B75B-7540-8D74-B0BCC1396A8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262818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FDA1A50A-8F5B-B44A-A10D-8E4296C786F6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747F7966-AD09-EB48-B9CC-B570C0276203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489700" y="3411056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4E3E936A-895F-C34F-8C7D-B396234A1945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3414072" y="3406967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CD8233A4-1FE4-7741-9520-AEBE5BA384DB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6338444" y="3406967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773D5E0-891F-4F44-B9E5-F5CCCFD9FE7C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9262816" y="3406967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AB688EAE-241E-EE46-BB1C-90F707EB5A44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18" name="Grafik 2">
              <a:extLst>
                <a:ext uri="{FF2B5EF4-FFF2-40B4-BE49-F238E27FC236}">
                  <a16:creationId xmlns:a16="http://schemas.microsoft.com/office/drawing/2014/main" id="{CDC01D00-3430-5942-A5C5-C2C1211D688F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2F54A740-AABF-5B4C-BE2F-A0B35416D483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62580C5D-B210-C64C-A56C-C7F063628955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CA1F6383-BBF1-214B-B54D-FDE3C82FF95E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6D2D0FB1-D508-274F-84BE-5AB445CC636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49137CAF-1616-6D4A-9207-055A7950C3B8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E7338EB0-C1F3-C64F-A23F-6818F2091D53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657D47B4-7EC3-364A-A26C-5CA174C9AFA5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E5674634-050B-FC4B-969D-F4A6BBCC1EC5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79D365D1-1788-A34A-91C4-B34AFBA32461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9" name="Grafik 2">
              <a:extLst>
                <a:ext uri="{FF2B5EF4-FFF2-40B4-BE49-F238E27FC236}">
                  <a16:creationId xmlns:a16="http://schemas.microsoft.com/office/drawing/2014/main" id="{0643389C-44B1-BB4F-8908-891C793DD033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20" name="Freihandform 119">
                <a:extLst>
                  <a:ext uri="{FF2B5EF4-FFF2-40B4-BE49-F238E27FC236}">
                    <a16:creationId xmlns:a16="http://schemas.microsoft.com/office/drawing/2014/main" id="{2164DC09-F874-C447-8CB4-DC139D848A95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 120">
                <a:extLst>
                  <a:ext uri="{FF2B5EF4-FFF2-40B4-BE49-F238E27FC236}">
                    <a16:creationId xmlns:a16="http://schemas.microsoft.com/office/drawing/2014/main" id="{04C0EF9D-BAB3-A04E-854E-1FD8F75D2ACF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 121">
                <a:extLst>
                  <a:ext uri="{FF2B5EF4-FFF2-40B4-BE49-F238E27FC236}">
                    <a16:creationId xmlns:a16="http://schemas.microsoft.com/office/drawing/2014/main" id="{BB78925B-5F5C-E94A-A862-4259A4B8719A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 122">
                <a:extLst>
                  <a:ext uri="{FF2B5EF4-FFF2-40B4-BE49-F238E27FC236}">
                    <a16:creationId xmlns:a16="http://schemas.microsoft.com/office/drawing/2014/main" id="{C5D5138F-B119-C94F-96E8-D678DD491034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 123">
                <a:extLst>
                  <a:ext uri="{FF2B5EF4-FFF2-40B4-BE49-F238E27FC236}">
                    <a16:creationId xmlns:a16="http://schemas.microsoft.com/office/drawing/2014/main" id="{321E71C6-253D-FE41-9BA6-FD2D7DCB523B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Freihandform 124">
                <a:extLst>
                  <a:ext uri="{FF2B5EF4-FFF2-40B4-BE49-F238E27FC236}">
                    <a16:creationId xmlns:a16="http://schemas.microsoft.com/office/drawing/2014/main" id="{C790737A-F382-A848-9ED5-2044DF1A69EF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Freihandform 125">
                <a:extLst>
                  <a:ext uri="{FF2B5EF4-FFF2-40B4-BE49-F238E27FC236}">
                    <a16:creationId xmlns:a16="http://schemas.microsoft.com/office/drawing/2014/main" id="{CAE0D4E5-AFBA-224C-BC49-D18B28FA14E7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Freihandform 126">
                <a:extLst>
                  <a:ext uri="{FF2B5EF4-FFF2-40B4-BE49-F238E27FC236}">
                    <a16:creationId xmlns:a16="http://schemas.microsoft.com/office/drawing/2014/main" id="{CE654C01-DCEF-5947-8DE6-4D1D754100FA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 127">
                <a:extLst>
                  <a:ext uri="{FF2B5EF4-FFF2-40B4-BE49-F238E27FC236}">
                    <a16:creationId xmlns:a16="http://schemas.microsoft.com/office/drawing/2014/main" id="{BFB1D2C8-95E9-EF4A-8708-38F07C8F53C6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3E7A2B0E-DFE5-1246-80D0-FCD1966FF2BA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336000"/>
            <a:ext cx="9631767" cy="222711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71535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 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3" y="333884"/>
            <a:ext cx="10388873" cy="365125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56" y="333884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A4D1863-368A-3D41-9D33-1991621CF6E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336000"/>
            <a:ext cx="9631767" cy="222711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FDA1A50A-8F5B-B44A-A10D-8E4296C786F6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AB688EAE-241E-EE46-BB1C-90F707EB5A44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18" name="Grafik 2">
              <a:extLst>
                <a:ext uri="{FF2B5EF4-FFF2-40B4-BE49-F238E27FC236}">
                  <a16:creationId xmlns:a16="http://schemas.microsoft.com/office/drawing/2014/main" id="{CDC01D00-3430-5942-A5C5-C2C1211D688F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2F54A740-AABF-5B4C-BE2F-A0B35416D483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62580C5D-B210-C64C-A56C-C7F063628955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CA1F6383-BBF1-214B-B54D-FDE3C82FF95E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6D2D0FB1-D508-274F-84BE-5AB445CC636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49137CAF-1616-6D4A-9207-055A7950C3B8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E7338EB0-C1F3-C64F-A23F-6818F2091D53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657D47B4-7EC3-364A-A26C-5CA174C9AFA5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E5674634-050B-FC4B-969D-F4A6BBCC1EC5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79D365D1-1788-A34A-91C4-B34AFBA32461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9" name="Grafik 2">
              <a:extLst>
                <a:ext uri="{FF2B5EF4-FFF2-40B4-BE49-F238E27FC236}">
                  <a16:creationId xmlns:a16="http://schemas.microsoft.com/office/drawing/2014/main" id="{0643389C-44B1-BB4F-8908-891C793DD033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20" name="Freihandform 119">
                <a:extLst>
                  <a:ext uri="{FF2B5EF4-FFF2-40B4-BE49-F238E27FC236}">
                    <a16:creationId xmlns:a16="http://schemas.microsoft.com/office/drawing/2014/main" id="{2164DC09-F874-C447-8CB4-DC139D848A95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 120">
                <a:extLst>
                  <a:ext uri="{FF2B5EF4-FFF2-40B4-BE49-F238E27FC236}">
                    <a16:creationId xmlns:a16="http://schemas.microsoft.com/office/drawing/2014/main" id="{04C0EF9D-BAB3-A04E-854E-1FD8F75D2ACF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 121">
                <a:extLst>
                  <a:ext uri="{FF2B5EF4-FFF2-40B4-BE49-F238E27FC236}">
                    <a16:creationId xmlns:a16="http://schemas.microsoft.com/office/drawing/2014/main" id="{BB78925B-5F5C-E94A-A862-4259A4B8719A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 122">
                <a:extLst>
                  <a:ext uri="{FF2B5EF4-FFF2-40B4-BE49-F238E27FC236}">
                    <a16:creationId xmlns:a16="http://schemas.microsoft.com/office/drawing/2014/main" id="{C5D5138F-B119-C94F-96E8-D678DD491034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 123">
                <a:extLst>
                  <a:ext uri="{FF2B5EF4-FFF2-40B4-BE49-F238E27FC236}">
                    <a16:creationId xmlns:a16="http://schemas.microsoft.com/office/drawing/2014/main" id="{321E71C6-253D-FE41-9BA6-FD2D7DCB523B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Freihandform 124">
                <a:extLst>
                  <a:ext uri="{FF2B5EF4-FFF2-40B4-BE49-F238E27FC236}">
                    <a16:creationId xmlns:a16="http://schemas.microsoft.com/office/drawing/2014/main" id="{C790737A-F382-A848-9ED5-2044DF1A69EF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Freihandform 125">
                <a:extLst>
                  <a:ext uri="{FF2B5EF4-FFF2-40B4-BE49-F238E27FC236}">
                    <a16:creationId xmlns:a16="http://schemas.microsoft.com/office/drawing/2014/main" id="{CAE0D4E5-AFBA-224C-BC49-D18B28FA14E7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Freihandform 126">
                <a:extLst>
                  <a:ext uri="{FF2B5EF4-FFF2-40B4-BE49-F238E27FC236}">
                    <a16:creationId xmlns:a16="http://schemas.microsoft.com/office/drawing/2014/main" id="{CE654C01-DCEF-5947-8DE6-4D1D754100FA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 127">
                <a:extLst>
                  <a:ext uri="{FF2B5EF4-FFF2-40B4-BE49-F238E27FC236}">
                    <a16:creationId xmlns:a16="http://schemas.microsoft.com/office/drawing/2014/main" id="{BFB1D2C8-95E9-EF4A-8708-38F07C8F53C6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3791A44E-6693-F942-B51D-709450C31FA5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6341381" y="1786933"/>
            <a:ext cx="5374130" cy="236088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C4159A3D-5049-C940-968A-3E88FC0DC84E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484254" y="1786933"/>
            <a:ext cx="5374130" cy="236088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81D50C8-C3FB-7E46-9179-A99ABB6D9AF2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479425" y="2343150"/>
            <a:ext cx="5374130" cy="36717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9" name="Inhaltsplatzhalter 4">
            <a:extLst>
              <a:ext uri="{FF2B5EF4-FFF2-40B4-BE49-F238E27FC236}">
                <a16:creationId xmlns:a16="http://schemas.microsoft.com/office/drawing/2014/main" id="{A4E58E86-8750-6848-8697-B88AC2B323A9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6329110" y="2343150"/>
            <a:ext cx="5374130" cy="36717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   </a:t>
            </a:r>
          </a:p>
        </p:txBody>
      </p:sp>
    </p:spTree>
    <p:extLst>
      <p:ext uri="{BB962C8B-B14F-4D97-AF65-F5344CB8AC3E}">
        <p14:creationId xmlns:p14="http://schemas.microsoft.com/office/powerpoint/2010/main" val="2206911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en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3" y="333884"/>
            <a:ext cx="10388873" cy="365125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63" y="333884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61C9A2AE-53BE-9842-839E-B98412C2C13F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564312" y="2998276"/>
            <a:ext cx="5137987" cy="352347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3A8EE804-7EED-D149-AD53-9120F3BB09FA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945754"/>
          </a:xfrm>
        </p:spPr>
        <p:txBody>
          <a:bodyPr lIns="0" t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77D4B640-4DAC-C54C-81D1-531F5FC4CFE0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489697" y="2965205"/>
            <a:ext cx="5374129" cy="2982133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47683702-2F9E-9D4A-8C20-4E12032E4361}"/>
              </a:ext>
            </a:extLst>
          </p:cNvPr>
          <p:cNvSpPr>
            <a:spLocks noGrp="1"/>
          </p:cNvSpPr>
          <p:nvPr>
            <p:ph type="body" idx="46"/>
          </p:nvPr>
        </p:nvSpPr>
        <p:spPr>
          <a:xfrm>
            <a:off x="479423" y="2227393"/>
            <a:ext cx="5374129" cy="288493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B7D7399E-5EE9-1241-8FC6-9972BC884C0E}"/>
              </a:ext>
            </a:extLst>
          </p:cNvPr>
          <p:cNvSpPr>
            <a:spLocks noGrp="1"/>
          </p:cNvSpPr>
          <p:nvPr>
            <p:ph type="body" idx="47"/>
          </p:nvPr>
        </p:nvSpPr>
        <p:spPr>
          <a:xfrm>
            <a:off x="6564312" y="2227393"/>
            <a:ext cx="5148263" cy="288493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D8660D60-C5E4-5949-8605-31AFCAC031DA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05" name="Grafik 2">
              <a:extLst>
                <a:ext uri="{FF2B5EF4-FFF2-40B4-BE49-F238E27FC236}">
                  <a16:creationId xmlns:a16="http://schemas.microsoft.com/office/drawing/2014/main" id="{E177EEDE-9AF8-DD4A-A1D4-CC95B1CE5C88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16" name="Freihandform 115">
                <a:extLst>
                  <a:ext uri="{FF2B5EF4-FFF2-40B4-BE49-F238E27FC236}">
                    <a16:creationId xmlns:a16="http://schemas.microsoft.com/office/drawing/2014/main" id="{BC48773C-EE89-AD43-BB76-D0CEF0171A8C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7" name="Freihandform 116">
                <a:extLst>
                  <a:ext uri="{FF2B5EF4-FFF2-40B4-BE49-F238E27FC236}">
                    <a16:creationId xmlns:a16="http://schemas.microsoft.com/office/drawing/2014/main" id="{86C10061-254A-5644-A434-E3A182C08DCC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8" name="Freihandform 117">
                <a:extLst>
                  <a:ext uri="{FF2B5EF4-FFF2-40B4-BE49-F238E27FC236}">
                    <a16:creationId xmlns:a16="http://schemas.microsoft.com/office/drawing/2014/main" id="{D8193306-EC64-6041-B2B4-C6186ABD24ED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9" name="Freihandform 118">
                <a:extLst>
                  <a:ext uri="{FF2B5EF4-FFF2-40B4-BE49-F238E27FC236}">
                    <a16:creationId xmlns:a16="http://schemas.microsoft.com/office/drawing/2014/main" id="{6F2474EF-D126-FD48-A5C9-DFC2C16C7F3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0" name="Freihandform 119">
                <a:extLst>
                  <a:ext uri="{FF2B5EF4-FFF2-40B4-BE49-F238E27FC236}">
                    <a16:creationId xmlns:a16="http://schemas.microsoft.com/office/drawing/2014/main" id="{BE7F7CD8-C483-5C4F-8601-8AC5C881C8BA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 120">
                <a:extLst>
                  <a:ext uri="{FF2B5EF4-FFF2-40B4-BE49-F238E27FC236}">
                    <a16:creationId xmlns:a16="http://schemas.microsoft.com/office/drawing/2014/main" id="{46392A82-8E47-914C-AE8F-1EDCECBC1C85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 121">
                <a:extLst>
                  <a:ext uri="{FF2B5EF4-FFF2-40B4-BE49-F238E27FC236}">
                    <a16:creationId xmlns:a16="http://schemas.microsoft.com/office/drawing/2014/main" id="{189657B1-E5CB-8047-A203-AEA14EE78F23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 122">
                <a:extLst>
                  <a:ext uri="{FF2B5EF4-FFF2-40B4-BE49-F238E27FC236}">
                    <a16:creationId xmlns:a16="http://schemas.microsoft.com/office/drawing/2014/main" id="{D7659F65-3369-1D40-A90E-643D3ACAEDFA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 123">
                <a:extLst>
                  <a:ext uri="{FF2B5EF4-FFF2-40B4-BE49-F238E27FC236}">
                    <a16:creationId xmlns:a16="http://schemas.microsoft.com/office/drawing/2014/main" id="{962EE1CA-3E9B-AC43-89A8-AC66DF5C9371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" name="Grafik 2">
              <a:extLst>
                <a:ext uri="{FF2B5EF4-FFF2-40B4-BE49-F238E27FC236}">
                  <a16:creationId xmlns:a16="http://schemas.microsoft.com/office/drawing/2014/main" id="{1E487111-8E74-BA49-9A00-5E73CB427771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07" name="Freihandform 106">
                <a:extLst>
                  <a:ext uri="{FF2B5EF4-FFF2-40B4-BE49-F238E27FC236}">
                    <a16:creationId xmlns:a16="http://schemas.microsoft.com/office/drawing/2014/main" id="{AE78B9F7-3733-704B-BBE3-A6169B09E070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" name="Freihandform 107">
                <a:extLst>
                  <a:ext uri="{FF2B5EF4-FFF2-40B4-BE49-F238E27FC236}">
                    <a16:creationId xmlns:a16="http://schemas.microsoft.com/office/drawing/2014/main" id="{64C7249F-CBF5-394B-A9E1-32D597D57EAC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" name="Freihandform 108">
                <a:extLst>
                  <a:ext uri="{FF2B5EF4-FFF2-40B4-BE49-F238E27FC236}">
                    <a16:creationId xmlns:a16="http://schemas.microsoft.com/office/drawing/2014/main" id="{FD5BC150-ABA1-DC47-BB29-689D15012086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Freihandform 109">
                <a:extLst>
                  <a:ext uri="{FF2B5EF4-FFF2-40B4-BE49-F238E27FC236}">
                    <a16:creationId xmlns:a16="http://schemas.microsoft.com/office/drawing/2014/main" id="{DF98BE36-6EC5-B14B-BD0C-BB6AD427462C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Freihandform 110">
                <a:extLst>
                  <a:ext uri="{FF2B5EF4-FFF2-40B4-BE49-F238E27FC236}">
                    <a16:creationId xmlns:a16="http://schemas.microsoft.com/office/drawing/2014/main" id="{6B49313F-4D65-A74D-A05C-3DC88C533448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Freihandform 111">
                <a:extLst>
                  <a:ext uri="{FF2B5EF4-FFF2-40B4-BE49-F238E27FC236}">
                    <a16:creationId xmlns:a16="http://schemas.microsoft.com/office/drawing/2014/main" id="{D22BACFE-8DBE-C740-9662-06FCF9929A4C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Freihandform 112">
                <a:extLst>
                  <a:ext uri="{FF2B5EF4-FFF2-40B4-BE49-F238E27FC236}">
                    <a16:creationId xmlns:a16="http://schemas.microsoft.com/office/drawing/2014/main" id="{B8D50260-2348-664B-AEB8-D5D2716A3B76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4" name="Freihandform 113">
                <a:extLst>
                  <a:ext uri="{FF2B5EF4-FFF2-40B4-BE49-F238E27FC236}">
                    <a16:creationId xmlns:a16="http://schemas.microsoft.com/office/drawing/2014/main" id="{EEAAA341-12C9-E04F-A0C0-4F6800351B19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5" name="Freihandform 114">
                <a:extLst>
                  <a:ext uri="{FF2B5EF4-FFF2-40B4-BE49-F238E27FC236}">
                    <a16:creationId xmlns:a16="http://schemas.microsoft.com/office/drawing/2014/main" id="{DD7CC133-7CE4-0043-881E-DB54570EECC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49320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, groß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24569"/>
            <a:ext cx="10345330" cy="372989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63" y="324570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9165F1A8-6332-334B-B0E8-4F4AB68952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5297" y="1994864"/>
            <a:ext cx="11233146" cy="3969056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02FAC200-463B-6E45-82D7-3C8B1E766C4A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1C420149-BFBA-9849-A443-17E6235CA9A5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96" name="Grafik 2">
              <a:extLst>
                <a:ext uri="{FF2B5EF4-FFF2-40B4-BE49-F238E27FC236}">
                  <a16:creationId xmlns:a16="http://schemas.microsoft.com/office/drawing/2014/main" id="{15C72FF1-5070-874D-AB2E-C74FB19ABA23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07" name="Freihandform 106">
                <a:extLst>
                  <a:ext uri="{FF2B5EF4-FFF2-40B4-BE49-F238E27FC236}">
                    <a16:creationId xmlns:a16="http://schemas.microsoft.com/office/drawing/2014/main" id="{95D74B07-FE7B-2745-8BFA-70A8486D36CE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" name="Freihandform 107">
                <a:extLst>
                  <a:ext uri="{FF2B5EF4-FFF2-40B4-BE49-F238E27FC236}">
                    <a16:creationId xmlns:a16="http://schemas.microsoft.com/office/drawing/2014/main" id="{376E1AA6-F28C-1448-818A-B939A4714C12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" name="Freihandform 108">
                <a:extLst>
                  <a:ext uri="{FF2B5EF4-FFF2-40B4-BE49-F238E27FC236}">
                    <a16:creationId xmlns:a16="http://schemas.microsoft.com/office/drawing/2014/main" id="{79C90345-F5FB-0E40-85A3-01B7D7BA0C2B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Freihandform 109">
                <a:extLst>
                  <a:ext uri="{FF2B5EF4-FFF2-40B4-BE49-F238E27FC236}">
                    <a16:creationId xmlns:a16="http://schemas.microsoft.com/office/drawing/2014/main" id="{C90B827C-4DBF-3346-AD5F-4C3CB93249D9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Freihandform 110">
                <a:extLst>
                  <a:ext uri="{FF2B5EF4-FFF2-40B4-BE49-F238E27FC236}">
                    <a16:creationId xmlns:a16="http://schemas.microsoft.com/office/drawing/2014/main" id="{26B13BAF-FAAC-1446-9A68-48F02842BCFB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Freihandform 111">
                <a:extLst>
                  <a:ext uri="{FF2B5EF4-FFF2-40B4-BE49-F238E27FC236}">
                    <a16:creationId xmlns:a16="http://schemas.microsoft.com/office/drawing/2014/main" id="{B1BE2EF1-9618-CA43-81B3-F975F20A6F44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Freihandform 112">
                <a:extLst>
                  <a:ext uri="{FF2B5EF4-FFF2-40B4-BE49-F238E27FC236}">
                    <a16:creationId xmlns:a16="http://schemas.microsoft.com/office/drawing/2014/main" id="{357D3127-D028-F745-86C9-838897361013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4" name="Freihandform 113">
                <a:extLst>
                  <a:ext uri="{FF2B5EF4-FFF2-40B4-BE49-F238E27FC236}">
                    <a16:creationId xmlns:a16="http://schemas.microsoft.com/office/drawing/2014/main" id="{3827517A-3979-994E-960E-633198F7089D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5" name="Freihandform 114">
                <a:extLst>
                  <a:ext uri="{FF2B5EF4-FFF2-40B4-BE49-F238E27FC236}">
                    <a16:creationId xmlns:a16="http://schemas.microsoft.com/office/drawing/2014/main" id="{3C760E55-729D-1247-B45D-2A9CFB4C6AB5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7" name="Grafik 2">
              <a:extLst>
                <a:ext uri="{FF2B5EF4-FFF2-40B4-BE49-F238E27FC236}">
                  <a16:creationId xmlns:a16="http://schemas.microsoft.com/office/drawing/2014/main" id="{D522DAE3-5F80-CA43-83D2-F5A3FCF1EE98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98" name="Freihandform 97">
                <a:extLst>
                  <a:ext uri="{FF2B5EF4-FFF2-40B4-BE49-F238E27FC236}">
                    <a16:creationId xmlns:a16="http://schemas.microsoft.com/office/drawing/2014/main" id="{1EBF481F-076F-E44B-9659-D4ED8D970358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 98">
                <a:extLst>
                  <a:ext uri="{FF2B5EF4-FFF2-40B4-BE49-F238E27FC236}">
                    <a16:creationId xmlns:a16="http://schemas.microsoft.com/office/drawing/2014/main" id="{711D2584-98DB-064A-B9AF-893265A1A8B1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 99">
                <a:extLst>
                  <a:ext uri="{FF2B5EF4-FFF2-40B4-BE49-F238E27FC236}">
                    <a16:creationId xmlns:a16="http://schemas.microsoft.com/office/drawing/2014/main" id="{76D6F8F0-CC07-A244-85F4-A227F290230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 100">
                <a:extLst>
                  <a:ext uri="{FF2B5EF4-FFF2-40B4-BE49-F238E27FC236}">
                    <a16:creationId xmlns:a16="http://schemas.microsoft.com/office/drawing/2014/main" id="{7AD7D53A-D9CA-5344-B1DF-38912138F7FF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48D75749-7771-E945-AC5A-A44DDA8993F8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3681B292-304D-274E-A0AD-DFE4D903BD05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" name="Freihandform 103">
                <a:extLst>
                  <a:ext uri="{FF2B5EF4-FFF2-40B4-BE49-F238E27FC236}">
                    <a16:creationId xmlns:a16="http://schemas.microsoft.com/office/drawing/2014/main" id="{7EA9B6B8-14C3-7746-9287-A382BE87C68B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" name="Freihandform 104">
                <a:extLst>
                  <a:ext uri="{FF2B5EF4-FFF2-40B4-BE49-F238E27FC236}">
                    <a16:creationId xmlns:a16="http://schemas.microsoft.com/office/drawing/2014/main" id="{19A8ED15-441E-3E45-84E5-6AF0D7B7477A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" name="Freihandform 105">
                <a:extLst>
                  <a:ext uri="{FF2B5EF4-FFF2-40B4-BE49-F238E27FC236}">
                    <a16:creationId xmlns:a16="http://schemas.microsoft.com/office/drawing/2014/main" id="{BEC5F393-3F4B-0C4C-8274-A09BE3309461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7070B64C-4F3B-C642-BB3F-1F9A49E5A0CB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336000"/>
            <a:ext cx="9631767" cy="222711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7751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3120320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E154646-0B06-6742-9ED6-3D57C1702D3D}"/>
              </a:ext>
            </a:extLst>
          </p:cNvPr>
          <p:cNvGrpSpPr/>
          <p:nvPr userDrawn="1"/>
        </p:nvGrpSpPr>
        <p:grpSpPr>
          <a:xfrm>
            <a:off x="3599745" y="0"/>
            <a:ext cx="8592255" cy="6858000"/>
            <a:chOff x="3599745" y="0"/>
            <a:chExt cx="8592255" cy="6858000"/>
          </a:xfrm>
        </p:grpSpPr>
        <p:cxnSp>
          <p:nvCxnSpPr>
            <p:cNvPr id="104" name="Gerade Verbindung 103">
              <a:extLst>
                <a:ext uri="{FF2B5EF4-FFF2-40B4-BE49-F238E27FC236}">
                  <a16:creationId xmlns:a16="http://schemas.microsoft.com/office/drawing/2014/main" id="{F0E9D360-71A9-2140-8821-438E0C25C4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>
              <a:extLst>
                <a:ext uri="{FF2B5EF4-FFF2-40B4-BE49-F238E27FC236}">
                  <a16:creationId xmlns:a16="http://schemas.microsoft.com/office/drawing/2014/main" id="{C3DE0588-BDF7-994A-9A25-FBBD5B5DE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>
              <a:extLst>
                <a:ext uri="{FF2B5EF4-FFF2-40B4-BE49-F238E27FC236}">
                  <a16:creationId xmlns:a16="http://schemas.microsoft.com/office/drawing/2014/main" id="{E23013DE-AD44-9140-BCF3-66A80BC96D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>
              <a:extLst>
                <a:ext uri="{FF2B5EF4-FFF2-40B4-BE49-F238E27FC236}">
                  <a16:creationId xmlns:a16="http://schemas.microsoft.com/office/drawing/2014/main" id="{05C705DA-33E8-7948-94C9-1E50F804676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>
              <a:extLst>
                <a:ext uri="{FF2B5EF4-FFF2-40B4-BE49-F238E27FC236}">
                  <a16:creationId xmlns:a16="http://schemas.microsoft.com/office/drawing/2014/main" id="{BFB5F12D-26D4-2148-A12B-62D3FBD59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F366B218-3B9D-9744-AB53-3993B97CBF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D98A11AD-7960-7B41-B866-C1FD65446E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9DDD5E61-B747-C741-992F-B4E7C1F42D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DB88C81E-9589-1149-9378-9056B4856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12B60805-357D-5342-8149-FAA969EA23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A8B0ABFC-B113-6344-B847-9D4097663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319630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B654164-0268-1746-857E-9B1F20D493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5936205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96517CDF-1913-EF48-9AE0-1702B48AA4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5312141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EE8B728F-B5EF-C047-BE4A-81D7269DB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4688077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E936FF51-F64E-F743-A756-D2B851BBFB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4064013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5045E3E-81FE-F845-A6E3-34754D6C21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3439949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81A02908-2D03-944A-A233-1C3F57C6AA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2815885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C5317651-A18C-014B-8311-1DABCC5A22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2191821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25F6BF5F-7FC8-6744-BA94-EE081EFFC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1567757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114D02C5-2D7C-1947-8FC7-0171AAE0EF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943693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F2FCDAD2-954C-9A48-B06B-E756025BFC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6538370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447E2897-FFE5-C946-A89C-FA558F6B9E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71937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90EB53EB-0288-AF4D-96D3-DF279BDC95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52005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3045B6BB-8D7A-6C41-B190-DFDA4D8CE2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2794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35BE65A1-30AE-FE48-B5BC-70D1BD94C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00261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99BBA4F-77DE-A943-AC0D-BC3EB979D87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27513" y="943693"/>
            <a:ext cx="7485062" cy="55952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8AAE3B3D-57AB-B944-A808-3E3013863B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2" y="1565095"/>
            <a:ext cx="2903858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A3E7AB3-E444-0145-8D55-A282CBB6CDA9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97" name="Grafik 2">
              <a:extLst>
                <a:ext uri="{FF2B5EF4-FFF2-40B4-BE49-F238E27FC236}">
                  <a16:creationId xmlns:a16="http://schemas.microsoft.com/office/drawing/2014/main" id="{A3FE04AB-C905-E14D-A7E8-6D3D9A810D4C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12CD6FEB-68D2-C74C-A686-C25CC0499C9A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92B60B19-327D-4B47-80D1-FA9F0557D30B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D3C42BBB-7CC0-3A4C-B4DF-5BF29CD51A81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0558A6AF-9A75-CB4B-BC00-665255BC810B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B351D184-E21B-2442-A202-12551FE8E28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E56C00B8-5634-B741-9D2A-E43656221070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0A6D02C1-FBCB-254E-A69C-739735744321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0DE0535F-0280-A94A-9C60-DF52259AC2B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F4E2E1B7-37AA-1D4B-8E60-7FA5F8FE571A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8" name="Grafik 2">
              <a:extLst>
                <a:ext uri="{FF2B5EF4-FFF2-40B4-BE49-F238E27FC236}">
                  <a16:creationId xmlns:a16="http://schemas.microsoft.com/office/drawing/2014/main" id="{CB5F3A5B-FCD4-9142-88AB-D720A7CA688A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99" name="Freihandform 98">
                <a:extLst>
                  <a:ext uri="{FF2B5EF4-FFF2-40B4-BE49-F238E27FC236}">
                    <a16:creationId xmlns:a16="http://schemas.microsoft.com/office/drawing/2014/main" id="{B729E122-A571-404B-BC5A-D41AA08178D2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 99">
                <a:extLst>
                  <a:ext uri="{FF2B5EF4-FFF2-40B4-BE49-F238E27FC236}">
                    <a16:creationId xmlns:a16="http://schemas.microsoft.com/office/drawing/2014/main" id="{B0E34A00-F87C-764A-A1C1-78CA94D40892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 100">
                <a:extLst>
                  <a:ext uri="{FF2B5EF4-FFF2-40B4-BE49-F238E27FC236}">
                    <a16:creationId xmlns:a16="http://schemas.microsoft.com/office/drawing/2014/main" id="{E3A3B19A-2ECC-2C46-B91F-7471DD2098B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094FA248-D657-F146-941A-D6CFBBFDB204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40F875D6-A874-8B4A-81D5-8F93C0995F39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BE5BEE96-A13C-414C-983D-8A738EBD365F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AECE565C-4BB4-EB4D-83B9-F160B8B92AE4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066E4C53-27E2-FC46-891B-79ED6B37EB51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89180101-68FD-7746-93C6-D58D5C6DD845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2141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Tex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3120320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E154646-0B06-6742-9ED6-3D57C1702D3D}"/>
              </a:ext>
            </a:extLst>
          </p:cNvPr>
          <p:cNvGrpSpPr/>
          <p:nvPr userDrawn="1"/>
        </p:nvGrpSpPr>
        <p:grpSpPr>
          <a:xfrm>
            <a:off x="3599745" y="0"/>
            <a:ext cx="8592255" cy="6858000"/>
            <a:chOff x="3599745" y="0"/>
            <a:chExt cx="8592255" cy="6858000"/>
          </a:xfrm>
        </p:grpSpPr>
        <p:cxnSp>
          <p:nvCxnSpPr>
            <p:cNvPr id="104" name="Gerade Verbindung 103">
              <a:extLst>
                <a:ext uri="{FF2B5EF4-FFF2-40B4-BE49-F238E27FC236}">
                  <a16:creationId xmlns:a16="http://schemas.microsoft.com/office/drawing/2014/main" id="{F0E9D360-71A9-2140-8821-438E0C25C4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>
              <a:extLst>
                <a:ext uri="{FF2B5EF4-FFF2-40B4-BE49-F238E27FC236}">
                  <a16:creationId xmlns:a16="http://schemas.microsoft.com/office/drawing/2014/main" id="{C3DE0588-BDF7-994A-9A25-FBBD5B5DE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>
              <a:extLst>
                <a:ext uri="{FF2B5EF4-FFF2-40B4-BE49-F238E27FC236}">
                  <a16:creationId xmlns:a16="http://schemas.microsoft.com/office/drawing/2014/main" id="{E23013DE-AD44-9140-BCF3-66A80BC96D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>
              <a:extLst>
                <a:ext uri="{FF2B5EF4-FFF2-40B4-BE49-F238E27FC236}">
                  <a16:creationId xmlns:a16="http://schemas.microsoft.com/office/drawing/2014/main" id="{05C705DA-33E8-7948-94C9-1E50F804676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>
              <a:extLst>
                <a:ext uri="{FF2B5EF4-FFF2-40B4-BE49-F238E27FC236}">
                  <a16:creationId xmlns:a16="http://schemas.microsoft.com/office/drawing/2014/main" id="{BFB5F12D-26D4-2148-A12B-62D3FBD59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F366B218-3B9D-9744-AB53-3993B97CBF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D98A11AD-7960-7B41-B866-C1FD65446E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9DDD5E61-B747-C741-992F-B4E7C1F42D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DB88C81E-9589-1149-9378-9056B4856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12B60805-357D-5342-8149-FAA969EA23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A8B0ABFC-B113-6344-B847-9D4097663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319630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B654164-0268-1746-857E-9B1F20D493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5936205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96517CDF-1913-EF48-9AE0-1702B48AA4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5312141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EE8B728F-B5EF-C047-BE4A-81D7269DB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4688077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E936FF51-F64E-F743-A756-D2B851BBFB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4064013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5045E3E-81FE-F845-A6E3-34754D6C21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3439949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81A02908-2D03-944A-A233-1C3F57C6AA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2815885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C5317651-A18C-014B-8311-1DABCC5A22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2191821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25F6BF5F-7FC8-6744-BA94-EE081EFFC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1567757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114D02C5-2D7C-1947-8FC7-0171AAE0EF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943693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F2FCDAD2-954C-9A48-B06B-E756025BFC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6538370"/>
              <a:ext cx="8592255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447E2897-FFE5-C946-A89C-FA558F6B9E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71937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90EB53EB-0288-AF4D-96D3-DF279BDC95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52005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3045B6BB-8D7A-6C41-B190-DFDA4D8CE2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2794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35BE65A1-30AE-FE48-B5BC-70D1BD94C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00261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ACC09E62-9D19-9841-A3D2-3A0D74D22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2" y="1565095"/>
            <a:ext cx="2903858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5F93D8A-5C52-C54A-A9BB-22D3D8FEFC4F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00" name="Grafik 2">
              <a:extLst>
                <a:ext uri="{FF2B5EF4-FFF2-40B4-BE49-F238E27FC236}">
                  <a16:creationId xmlns:a16="http://schemas.microsoft.com/office/drawing/2014/main" id="{3A92CE48-CA8F-F545-ADF0-F7F032280F52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2C07DC45-29BE-8F4D-8896-9D575B3D31F8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25B79548-185F-094F-8C13-72477C700703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0D87816F-E122-D445-858F-4BB32020B0B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FD1CF28F-584D-F946-B23B-B28B2109A801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A2A33A2E-9674-964E-8275-3ADF7EE6659D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38F243AF-D3D2-5242-9397-16D9D68826B7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7D8FD206-1824-2F4E-A16A-7671DFAD1F03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 142">
                <a:extLst>
                  <a:ext uri="{FF2B5EF4-FFF2-40B4-BE49-F238E27FC236}">
                    <a16:creationId xmlns:a16="http://schemas.microsoft.com/office/drawing/2014/main" id="{2A78F440-E240-F741-BF38-4B765834423D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B8319859-2DD3-684D-9FD7-43197088E1A7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1" name="Grafik 2">
              <a:extLst>
                <a:ext uri="{FF2B5EF4-FFF2-40B4-BE49-F238E27FC236}">
                  <a16:creationId xmlns:a16="http://schemas.microsoft.com/office/drawing/2014/main" id="{2DC7B3FD-6E1D-AA40-8B14-97657F5DFBA8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D221CB68-1561-1E4A-AF1F-2104CD949E10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B1AA570E-8841-8E42-870E-7978D7A5756F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13ED6B98-5610-CD4F-B4FF-E3671F85EE3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C209DDD1-EED9-804A-BF4E-528BBC4F54DD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A76B7006-D450-8C48-BFFF-C6D744C6B33D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BB7B31EE-6507-7C44-8CA1-75F961340FC5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A2E11F29-5B04-9D47-9E1D-3B59553A64AE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D368E6AC-479A-A34F-A6B7-44DEBFE2AE9D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17051FA5-3C94-1C4B-A333-B0C313C089F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1300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Tex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16986"/>
            <a:ext cx="5206965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4" name="Gerade Verbindung 103">
            <a:extLst>
              <a:ext uri="{FF2B5EF4-FFF2-40B4-BE49-F238E27FC236}">
                <a16:creationId xmlns:a16="http://schemas.microsoft.com/office/drawing/2014/main" id="{F0E9D360-71A9-2140-8821-438E0C25C4D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104">
            <a:extLst>
              <a:ext uri="{FF2B5EF4-FFF2-40B4-BE49-F238E27FC236}">
                <a16:creationId xmlns:a16="http://schemas.microsoft.com/office/drawing/2014/main" id="{C3DE0588-BDF7-994A-9A25-FBBD5B5DE144}"/>
              </a:ext>
            </a:extLst>
          </p:cNvPr>
          <p:cNvCxnSpPr>
            <a:cxnSpLocks/>
          </p:cNvCxnSpPr>
          <p:nvPr userDrawn="1"/>
        </p:nvCxnSpPr>
        <p:spPr>
          <a:xfrm>
            <a:off x="6720064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>
            <a:extLst>
              <a:ext uri="{FF2B5EF4-FFF2-40B4-BE49-F238E27FC236}">
                <a16:creationId xmlns:a16="http://schemas.microsoft.com/office/drawing/2014/main" id="{E23013DE-AD44-9140-BCF3-66A80BC96D74}"/>
              </a:ext>
            </a:extLst>
          </p:cNvPr>
          <p:cNvCxnSpPr>
            <a:cxnSpLocks/>
          </p:cNvCxnSpPr>
          <p:nvPr userDrawn="1"/>
        </p:nvCxnSpPr>
        <p:spPr>
          <a:xfrm>
            <a:off x="7344128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>
            <a:extLst>
              <a:ext uri="{FF2B5EF4-FFF2-40B4-BE49-F238E27FC236}">
                <a16:creationId xmlns:a16="http://schemas.microsoft.com/office/drawing/2014/main" id="{05C705DA-33E8-7948-94C9-1E50F8046763}"/>
              </a:ext>
            </a:extLst>
          </p:cNvPr>
          <p:cNvCxnSpPr>
            <a:cxnSpLocks/>
          </p:cNvCxnSpPr>
          <p:nvPr userDrawn="1"/>
        </p:nvCxnSpPr>
        <p:spPr>
          <a:xfrm>
            <a:off x="7968192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BFB5F12D-26D4-2148-A12B-62D3FBD598BB}"/>
              </a:ext>
            </a:extLst>
          </p:cNvPr>
          <p:cNvCxnSpPr>
            <a:cxnSpLocks/>
          </p:cNvCxnSpPr>
          <p:nvPr userDrawn="1"/>
        </p:nvCxnSpPr>
        <p:spPr>
          <a:xfrm>
            <a:off x="8592256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F366B218-3B9D-9744-AB53-3993B97CBF4F}"/>
              </a:ext>
            </a:extLst>
          </p:cNvPr>
          <p:cNvCxnSpPr>
            <a:cxnSpLocks/>
          </p:cNvCxnSpPr>
          <p:nvPr userDrawn="1"/>
        </p:nvCxnSpPr>
        <p:spPr>
          <a:xfrm>
            <a:off x="9216320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>
            <a:extLst>
              <a:ext uri="{FF2B5EF4-FFF2-40B4-BE49-F238E27FC236}">
                <a16:creationId xmlns:a16="http://schemas.microsoft.com/office/drawing/2014/main" id="{D98A11AD-7960-7B41-B866-C1FD65446EDA}"/>
              </a:ext>
            </a:extLst>
          </p:cNvPr>
          <p:cNvCxnSpPr>
            <a:cxnSpLocks/>
          </p:cNvCxnSpPr>
          <p:nvPr userDrawn="1"/>
        </p:nvCxnSpPr>
        <p:spPr>
          <a:xfrm>
            <a:off x="9840384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>
            <a:extLst>
              <a:ext uri="{FF2B5EF4-FFF2-40B4-BE49-F238E27FC236}">
                <a16:creationId xmlns:a16="http://schemas.microsoft.com/office/drawing/2014/main" id="{9DDD5E61-B747-C741-992F-B4E7C1F42D77}"/>
              </a:ext>
            </a:extLst>
          </p:cNvPr>
          <p:cNvCxnSpPr>
            <a:cxnSpLocks/>
          </p:cNvCxnSpPr>
          <p:nvPr userDrawn="1"/>
        </p:nvCxnSpPr>
        <p:spPr>
          <a:xfrm>
            <a:off x="10464448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>
            <a:extLst>
              <a:ext uri="{FF2B5EF4-FFF2-40B4-BE49-F238E27FC236}">
                <a16:creationId xmlns:a16="http://schemas.microsoft.com/office/drawing/2014/main" id="{DB88C81E-9589-1149-9378-9056B4856723}"/>
              </a:ext>
            </a:extLst>
          </p:cNvPr>
          <p:cNvCxnSpPr>
            <a:cxnSpLocks/>
          </p:cNvCxnSpPr>
          <p:nvPr userDrawn="1"/>
        </p:nvCxnSpPr>
        <p:spPr>
          <a:xfrm>
            <a:off x="11088512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>
            <a:extLst>
              <a:ext uri="{FF2B5EF4-FFF2-40B4-BE49-F238E27FC236}">
                <a16:creationId xmlns:a16="http://schemas.microsoft.com/office/drawing/2014/main" id="{12B60805-357D-5342-8149-FAA969EA2308}"/>
              </a:ext>
            </a:extLst>
          </p:cNvPr>
          <p:cNvCxnSpPr>
            <a:cxnSpLocks/>
          </p:cNvCxnSpPr>
          <p:nvPr userDrawn="1"/>
        </p:nvCxnSpPr>
        <p:spPr>
          <a:xfrm>
            <a:off x="11712575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113">
            <a:extLst>
              <a:ext uri="{FF2B5EF4-FFF2-40B4-BE49-F238E27FC236}">
                <a16:creationId xmlns:a16="http://schemas.microsoft.com/office/drawing/2014/main" id="{A8B0ABFC-B113-6344-B847-9D409766382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19630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114">
            <a:extLst>
              <a:ext uri="{FF2B5EF4-FFF2-40B4-BE49-F238E27FC236}">
                <a16:creationId xmlns:a16="http://schemas.microsoft.com/office/drawing/2014/main" id="{BB654164-0268-1746-857E-9B1F20D4939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936205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115">
            <a:extLst>
              <a:ext uri="{FF2B5EF4-FFF2-40B4-BE49-F238E27FC236}">
                <a16:creationId xmlns:a16="http://schemas.microsoft.com/office/drawing/2014/main" id="{96517CDF-1913-EF48-9AE0-1702B48AA40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312141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116">
            <a:extLst>
              <a:ext uri="{FF2B5EF4-FFF2-40B4-BE49-F238E27FC236}">
                <a16:creationId xmlns:a16="http://schemas.microsoft.com/office/drawing/2014/main" id="{EE8B728F-B5EF-C047-BE4A-81D7269DB26E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688077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>
            <a:extLst>
              <a:ext uri="{FF2B5EF4-FFF2-40B4-BE49-F238E27FC236}">
                <a16:creationId xmlns:a16="http://schemas.microsoft.com/office/drawing/2014/main" id="{E936FF51-F64E-F743-A756-D2B851BBFBE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064013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118">
            <a:extLst>
              <a:ext uri="{FF2B5EF4-FFF2-40B4-BE49-F238E27FC236}">
                <a16:creationId xmlns:a16="http://schemas.microsoft.com/office/drawing/2014/main" id="{25045E3E-81FE-F845-A6E3-34754D6C215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39949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119">
            <a:extLst>
              <a:ext uri="{FF2B5EF4-FFF2-40B4-BE49-F238E27FC236}">
                <a16:creationId xmlns:a16="http://schemas.microsoft.com/office/drawing/2014/main" id="{81A02908-2D03-944A-A233-1C3F57C6AAF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815885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120">
            <a:extLst>
              <a:ext uri="{FF2B5EF4-FFF2-40B4-BE49-F238E27FC236}">
                <a16:creationId xmlns:a16="http://schemas.microsoft.com/office/drawing/2014/main" id="{C5317651-A18C-014B-8311-1DABCC5A221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191821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>
            <a:extLst>
              <a:ext uri="{FF2B5EF4-FFF2-40B4-BE49-F238E27FC236}">
                <a16:creationId xmlns:a16="http://schemas.microsoft.com/office/drawing/2014/main" id="{25F6BF5F-7FC8-6744-BA94-EE081EFFC99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67757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114D02C5-2D7C-1947-8FC7-0171AAE0EF4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943693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123">
            <a:extLst>
              <a:ext uri="{FF2B5EF4-FFF2-40B4-BE49-F238E27FC236}">
                <a16:creationId xmlns:a16="http://schemas.microsoft.com/office/drawing/2014/main" id="{F2FCDAD2-954C-9A48-B06B-E756025BFC9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6538370"/>
            <a:ext cx="6096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ACC09E62-9D19-9841-A3D2-3A0D74D22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1" y="1565095"/>
            <a:ext cx="5206975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5F93D8A-5C52-C54A-A9BB-22D3D8FEFC4F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00" name="Grafik 2">
              <a:extLst>
                <a:ext uri="{FF2B5EF4-FFF2-40B4-BE49-F238E27FC236}">
                  <a16:creationId xmlns:a16="http://schemas.microsoft.com/office/drawing/2014/main" id="{3A92CE48-CA8F-F545-ADF0-F7F032280F52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2C07DC45-29BE-8F4D-8896-9D575B3D31F8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25B79548-185F-094F-8C13-72477C700703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0D87816F-E122-D445-858F-4BB32020B0B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FD1CF28F-584D-F946-B23B-B28B2109A801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A2A33A2E-9674-964E-8275-3ADF7EE6659D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38F243AF-D3D2-5242-9397-16D9D68826B7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7D8FD206-1824-2F4E-A16A-7671DFAD1F03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 142">
                <a:extLst>
                  <a:ext uri="{FF2B5EF4-FFF2-40B4-BE49-F238E27FC236}">
                    <a16:creationId xmlns:a16="http://schemas.microsoft.com/office/drawing/2014/main" id="{2A78F440-E240-F741-BF38-4B765834423D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B8319859-2DD3-684D-9FD7-43197088E1A7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1" name="Grafik 2">
              <a:extLst>
                <a:ext uri="{FF2B5EF4-FFF2-40B4-BE49-F238E27FC236}">
                  <a16:creationId xmlns:a16="http://schemas.microsoft.com/office/drawing/2014/main" id="{2DC7B3FD-6E1D-AA40-8B14-97657F5DFBA8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D221CB68-1561-1E4A-AF1F-2104CD949E10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B1AA570E-8841-8E42-870E-7978D7A5756F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13ED6B98-5610-CD4F-B4FF-E3671F85EE3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C209DDD1-EED9-804A-BF4E-528BBC4F54DD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A76B7006-D450-8C48-BFFF-C6D744C6B33D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BB7B31EE-6507-7C44-8CA1-75F961340FC5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A2E11F29-5B04-9D47-9E1D-3B59553A64AE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D368E6AC-479A-A34F-A6B7-44DEBFE2AE9D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17051FA5-3C94-1C4B-A333-B0C313C089F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55351911-D063-9241-8C39-2E6C385D994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7" y="6290514"/>
            <a:ext cx="3609720" cy="268197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25045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Tex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16986"/>
            <a:ext cx="8496603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F366B218-3B9D-9744-AB53-3993B97CBF4F}"/>
              </a:ext>
            </a:extLst>
          </p:cNvPr>
          <p:cNvCxnSpPr>
            <a:cxnSpLocks/>
          </p:cNvCxnSpPr>
          <p:nvPr userDrawn="1"/>
        </p:nvCxnSpPr>
        <p:spPr>
          <a:xfrm>
            <a:off x="9216320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>
            <a:extLst>
              <a:ext uri="{FF2B5EF4-FFF2-40B4-BE49-F238E27FC236}">
                <a16:creationId xmlns:a16="http://schemas.microsoft.com/office/drawing/2014/main" id="{D98A11AD-7960-7B41-B866-C1FD65446EDA}"/>
              </a:ext>
            </a:extLst>
          </p:cNvPr>
          <p:cNvCxnSpPr>
            <a:cxnSpLocks/>
          </p:cNvCxnSpPr>
          <p:nvPr userDrawn="1"/>
        </p:nvCxnSpPr>
        <p:spPr>
          <a:xfrm>
            <a:off x="9840384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>
            <a:extLst>
              <a:ext uri="{FF2B5EF4-FFF2-40B4-BE49-F238E27FC236}">
                <a16:creationId xmlns:a16="http://schemas.microsoft.com/office/drawing/2014/main" id="{9DDD5E61-B747-C741-992F-B4E7C1F42D77}"/>
              </a:ext>
            </a:extLst>
          </p:cNvPr>
          <p:cNvCxnSpPr>
            <a:cxnSpLocks/>
          </p:cNvCxnSpPr>
          <p:nvPr userDrawn="1"/>
        </p:nvCxnSpPr>
        <p:spPr>
          <a:xfrm>
            <a:off x="10464448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>
            <a:extLst>
              <a:ext uri="{FF2B5EF4-FFF2-40B4-BE49-F238E27FC236}">
                <a16:creationId xmlns:a16="http://schemas.microsoft.com/office/drawing/2014/main" id="{DB88C81E-9589-1149-9378-9056B4856723}"/>
              </a:ext>
            </a:extLst>
          </p:cNvPr>
          <p:cNvCxnSpPr>
            <a:cxnSpLocks/>
          </p:cNvCxnSpPr>
          <p:nvPr userDrawn="1"/>
        </p:nvCxnSpPr>
        <p:spPr>
          <a:xfrm>
            <a:off x="11088512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>
            <a:extLst>
              <a:ext uri="{FF2B5EF4-FFF2-40B4-BE49-F238E27FC236}">
                <a16:creationId xmlns:a16="http://schemas.microsoft.com/office/drawing/2014/main" id="{12B60805-357D-5342-8149-FAA969EA2308}"/>
              </a:ext>
            </a:extLst>
          </p:cNvPr>
          <p:cNvCxnSpPr>
            <a:cxnSpLocks/>
          </p:cNvCxnSpPr>
          <p:nvPr userDrawn="1"/>
        </p:nvCxnSpPr>
        <p:spPr>
          <a:xfrm>
            <a:off x="11712575" y="0"/>
            <a:ext cx="0" cy="685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113">
            <a:extLst>
              <a:ext uri="{FF2B5EF4-FFF2-40B4-BE49-F238E27FC236}">
                <a16:creationId xmlns:a16="http://schemas.microsoft.com/office/drawing/2014/main" id="{A8B0ABFC-B113-6344-B847-9D409766382D}"/>
              </a:ext>
            </a:extLst>
          </p:cNvPr>
          <p:cNvCxnSpPr>
            <a:cxnSpLocks/>
          </p:cNvCxnSpPr>
          <p:nvPr userDrawn="1"/>
        </p:nvCxnSpPr>
        <p:spPr>
          <a:xfrm>
            <a:off x="9216320" y="319630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114">
            <a:extLst>
              <a:ext uri="{FF2B5EF4-FFF2-40B4-BE49-F238E27FC236}">
                <a16:creationId xmlns:a16="http://schemas.microsoft.com/office/drawing/2014/main" id="{BB654164-0268-1746-857E-9B1F20D49397}"/>
              </a:ext>
            </a:extLst>
          </p:cNvPr>
          <p:cNvCxnSpPr>
            <a:cxnSpLocks/>
          </p:cNvCxnSpPr>
          <p:nvPr userDrawn="1"/>
        </p:nvCxnSpPr>
        <p:spPr>
          <a:xfrm>
            <a:off x="9216320" y="5936205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115">
            <a:extLst>
              <a:ext uri="{FF2B5EF4-FFF2-40B4-BE49-F238E27FC236}">
                <a16:creationId xmlns:a16="http://schemas.microsoft.com/office/drawing/2014/main" id="{96517CDF-1913-EF48-9AE0-1702B48AA403}"/>
              </a:ext>
            </a:extLst>
          </p:cNvPr>
          <p:cNvCxnSpPr>
            <a:cxnSpLocks/>
          </p:cNvCxnSpPr>
          <p:nvPr userDrawn="1"/>
        </p:nvCxnSpPr>
        <p:spPr>
          <a:xfrm>
            <a:off x="9216320" y="5312141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116">
            <a:extLst>
              <a:ext uri="{FF2B5EF4-FFF2-40B4-BE49-F238E27FC236}">
                <a16:creationId xmlns:a16="http://schemas.microsoft.com/office/drawing/2014/main" id="{EE8B728F-B5EF-C047-BE4A-81D7269DB26E}"/>
              </a:ext>
            </a:extLst>
          </p:cNvPr>
          <p:cNvCxnSpPr>
            <a:cxnSpLocks/>
          </p:cNvCxnSpPr>
          <p:nvPr userDrawn="1"/>
        </p:nvCxnSpPr>
        <p:spPr>
          <a:xfrm>
            <a:off x="9216320" y="4688077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>
            <a:extLst>
              <a:ext uri="{FF2B5EF4-FFF2-40B4-BE49-F238E27FC236}">
                <a16:creationId xmlns:a16="http://schemas.microsoft.com/office/drawing/2014/main" id="{E936FF51-F64E-F743-A756-D2B851BBFBE3}"/>
              </a:ext>
            </a:extLst>
          </p:cNvPr>
          <p:cNvCxnSpPr>
            <a:cxnSpLocks/>
          </p:cNvCxnSpPr>
          <p:nvPr userDrawn="1"/>
        </p:nvCxnSpPr>
        <p:spPr>
          <a:xfrm>
            <a:off x="9216320" y="4064013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118">
            <a:extLst>
              <a:ext uri="{FF2B5EF4-FFF2-40B4-BE49-F238E27FC236}">
                <a16:creationId xmlns:a16="http://schemas.microsoft.com/office/drawing/2014/main" id="{25045E3E-81FE-F845-A6E3-34754D6C215D}"/>
              </a:ext>
            </a:extLst>
          </p:cNvPr>
          <p:cNvCxnSpPr>
            <a:cxnSpLocks/>
          </p:cNvCxnSpPr>
          <p:nvPr userDrawn="1"/>
        </p:nvCxnSpPr>
        <p:spPr>
          <a:xfrm>
            <a:off x="9216320" y="3439949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119">
            <a:extLst>
              <a:ext uri="{FF2B5EF4-FFF2-40B4-BE49-F238E27FC236}">
                <a16:creationId xmlns:a16="http://schemas.microsoft.com/office/drawing/2014/main" id="{81A02908-2D03-944A-A233-1C3F57C6AAFC}"/>
              </a:ext>
            </a:extLst>
          </p:cNvPr>
          <p:cNvCxnSpPr>
            <a:cxnSpLocks/>
          </p:cNvCxnSpPr>
          <p:nvPr userDrawn="1"/>
        </p:nvCxnSpPr>
        <p:spPr>
          <a:xfrm>
            <a:off x="9216320" y="2815885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120">
            <a:extLst>
              <a:ext uri="{FF2B5EF4-FFF2-40B4-BE49-F238E27FC236}">
                <a16:creationId xmlns:a16="http://schemas.microsoft.com/office/drawing/2014/main" id="{C5317651-A18C-014B-8311-1DABCC5A221D}"/>
              </a:ext>
            </a:extLst>
          </p:cNvPr>
          <p:cNvCxnSpPr>
            <a:cxnSpLocks/>
          </p:cNvCxnSpPr>
          <p:nvPr userDrawn="1"/>
        </p:nvCxnSpPr>
        <p:spPr>
          <a:xfrm>
            <a:off x="9216320" y="2191821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>
            <a:extLst>
              <a:ext uri="{FF2B5EF4-FFF2-40B4-BE49-F238E27FC236}">
                <a16:creationId xmlns:a16="http://schemas.microsoft.com/office/drawing/2014/main" id="{25F6BF5F-7FC8-6744-BA94-EE081EFFC997}"/>
              </a:ext>
            </a:extLst>
          </p:cNvPr>
          <p:cNvCxnSpPr>
            <a:cxnSpLocks/>
          </p:cNvCxnSpPr>
          <p:nvPr userDrawn="1"/>
        </p:nvCxnSpPr>
        <p:spPr>
          <a:xfrm>
            <a:off x="9216320" y="1567757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114D02C5-2D7C-1947-8FC7-0171AAE0EF40}"/>
              </a:ext>
            </a:extLst>
          </p:cNvPr>
          <p:cNvCxnSpPr>
            <a:cxnSpLocks/>
          </p:cNvCxnSpPr>
          <p:nvPr userDrawn="1"/>
        </p:nvCxnSpPr>
        <p:spPr>
          <a:xfrm>
            <a:off x="9216320" y="943693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123">
            <a:extLst>
              <a:ext uri="{FF2B5EF4-FFF2-40B4-BE49-F238E27FC236}">
                <a16:creationId xmlns:a16="http://schemas.microsoft.com/office/drawing/2014/main" id="{F2FCDAD2-954C-9A48-B06B-E756025BFC94}"/>
              </a:ext>
            </a:extLst>
          </p:cNvPr>
          <p:cNvCxnSpPr>
            <a:cxnSpLocks/>
          </p:cNvCxnSpPr>
          <p:nvPr userDrawn="1"/>
        </p:nvCxnSpPr>
        <p:spPr>
          <a:xfrm>
            <a:off x="9216320" y="6538370"/>
            <a:ext cx="297568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ACC09E62-9D19-9841-A3D2-3A0D74D22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1" y="1565095"/>
            <a:ext cx="8496613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5F93D8A-5C52-C54A-A9BB-22D3D8FEFC4F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00" name="Grafik 2">
              <a:extLst>
                <a:ext uri="{FF2B5EF4-FFF2-40B4-BE49-F238E27FC236}">
                  <a16:creationId xmlns:a16="http://schemas.microsoft.com/office/drawing/2014/main" id="{3A92CE48-CA8F-F545-ADF0-F7F032280F52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2C07DC45-29BE-8F4D-8896-9D575B3D31F8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25B79548-185F-094F-8C13-72477C700703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0D87816F-E122-D445-858F-4BB32020B0B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FD1CF28F-584D-F946-B23B-B28B2109A801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A2A33A2E-9674-964E-8275-3ADF7EE6659D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38F243AF-D3D2-5242-9397-16D9D68826B7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7D8FD206-1824-2F4E-A16A-7671DFAD1F03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 142">
                <a:extLst>
                  <a:ext uri="{FF2B5EF4-FFF2-40B4-BE49-F238E27FC236}">
                    <a16:creationId xmlns:a16="http://schemas.microsoft.com/office/drawing/2014/main" id="{2A78F440-E240-F741-BF38-4B765834423D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B8319859-2DD3-684D-9FD7-43197088E1A7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1" name="Grafik 2">
              <a:extLst>
                <a:ext uri="{FF2B5EF4-FFF2-40B4-BE49-F238E27FC236}">
                  <a16:creationId xmlns:a16="http://schemas.microsoft.com/office/drawing/2014/main" id="{2DC7B3FD-6E1D-AA40-8B14-97657F5DFBA8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D221CB68-1561-1E4A-AF1F-2104CD949E10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B1AA570E-8841-8E42-870E-7978D7A5756F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13ED6B98-5610-CD4F-B4FF-E3671F85EE3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C209DDD1-EED9-804A-BF4E-528BBC4F54DD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A76B7006-D450-8C48-BFFF-C6D744C6B33D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BB7B31EE-6507-7C44-8CA1-75F961340FC5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A2E11F29-5B04-9D47-9E1D-3B59553A64AE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D368E6AC-479A-A34F-A6B7-44DEBFE2AE9D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17051FA5-3C94-1C4B-A333-B0C313C089F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229AF1FD-079C-2946-BEAA-34023E7A254C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290514"/>
            <a:ext cx="6899365" cy="268197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570A9D1-17CE-704E-9EFE-BBC4EE28C2D1}"/>
              </a:ext>
            </a:extLst>
          </p:cNvPr>
          <p:cNvSpPr txBox="1"/>
          <p:nvPr userDrawn="1"/>
        </p:nvSpPr>
        <p:spPr>
          <a:xfrm>
            <a:off x="3390900" y="1993900"/>
            <a:ext cx="0" cy="0"/>
          </a:xfrm>
          <a:prstGeom prst="rect">
            <a:avLst/>
          </a:prstGeom>
        </p:spPr>
        <p:txBody>
          <a:bodyPr vert="horz" wrap="none" lIns="0" tIns="0" rIns="0" bIns="0" rtlCol="0" anchor="t">
            <a:normAutofit fontScale="25000" lnSpcReduction="20000"/>
          </a:bodyPr>
          <a:lstStyle/>
          <a:p>
            <a:pPr algn="l"/>
            <a:endParaRPr lang="de-DE" sz="5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452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16986"/>
            <a:ext cx="5206965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4" name="Gerade Verbindung 103">
            <a:extLst>
              <a:ext uri="{FF2B5EF4-FFF2-40B4-BE49-F238E27FC236}">
                <a16:creationId xmlns:a16="http://schemas.microsoft.com/office/drawing/2014/main" id="{F0E9D360-71A9-2140-8821-438E0C25C4D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104">
            <a:extLst>
              <a:ext uri="{FF2B5EF4-FFF2-40B4-BE49-F238E27FC236}">
                <a16:creationId xmlns:a16="http://schemas.microsoft.com/office/drawing/2014/main" id="{C3DE0588-BDF7-994A-9A25-FBBD5B5DE144}"/>
              </a:ext>
            </a:extLst>
          </p:cNvPr>
          <p:cNvCxnSpPr>
            <a:cxnSpLocks/>
          </p:cNvCxnSpPr>
          <p:nvPr userDrawn="1"/>
        </p:nvCxnSpPr>
        <p:spPr>
          <a:xfrm>
            <a:off x="6720064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>
            <a:extLst>
              <a:ext uri="{FF2B5EF4-FFF2-40B4-BE49-F238E27FC236}">
                <a16:creationId xmlns:a16="http://schemas.microsoft.com/office/drawing/2014/main" id="{E23013DE-AD44-9140-BCF3-66A80BC96D74}"/>
              </a:ext>
            </a:extLst>
          </p:cNvPr>
          <p:cNvCxnSpPr>
            <a:cxnSpLocks/>
          </p:cNvCxnSpPr>
          <p:nvPr userDrawn="1"/>
        </p:nvCxnSpPr>
        <p:spPr>
          <a:xfrm>
            <a:off x="7344128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>
            <a:extLst>
              <a:ext uri="{FF2B5EF4-FFF2-40B4-BE49-F238E27FC236}">
                <a16:creationId xmlns:a16="http://schemas.microsoft.com/office/drawing/2014/main" id="{05C705DA-33E8-7948-94C9-1E50F8046763}"/>
              </a:ext>
            </a:extLst>
          </p:cNvPr>
          <p:cNvCxnSpPr>
            <a:cxnSpLocks/>
          </p:cNvCxnSpPr>
          <p:nvPr userDrawn="1"/>
        </p:nvCxnSpPr>
        <p:spPr>
          <a:xfrm>
            <a:off x="7968192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BFB5F12D-26D4-2148-A12B-62D3FBD598BB}"/>
              </a:ext>
            </a:extLst>
          </p:cNvPr>
          <p:cNvCxnSpPr>
            <a:cxnSpLocks/>
          </p:cNvCxnSpPr>
          <p:nvPr userDrawn="1"/>
        </p:nvCxnSpPr>
        <p:spPr>
          <a:xfrm>
            <a:off x="8592256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F366B218-3B9D-9744-AB53-3993B97CBF4F}"/>
              </a:ext>
            </a:extLst>
          </p:cNvPr>
          <p:cNvCxnSpPr>
            <a:cxnSpLocks/>
          </p:cNvCxnSpPr>
          <p:nvPr userDrawn="1"/>
        </p:nvCxnSpPr>
        <p:spPr>
          <a:xfrm>
            <a:off x="9216320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>
            <a:extLst>
              <a:ext uri="{FF2B5EF4-FFF2-40B4-BE49-F238E27FC236}">
                <a16:creationId xmlns:a16="http://schemas.microsoft.com/office/drawing/2014/main" id="{D98A11AD-7960-7B41-B866-C1FD65446EDA}"/>
              </a:ext>
            </a:extLst>
          </p:cNvPr>
          <p:cNvCxnSpPr>
            <a:cxnSpLocks/>
          </p:cNvCxnSpPr>
          <p:nvPr userDrawn="1"/>
        </p:nvCxnSpPr>
        <p:spPr>
          <a:xfrm>
            <a:off x="9840384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>
            <a:extLst>
              <a:ext uri="{FF2B5EF4-FFF2-40B4-BE49-F238E27FC236}">
                <a16:creationId xmlns:a16="http://schemas.microsoft.com/office/drawing/2014/main" id="{9DDD5E61-B747-C741-992F-B4E7C1F42D77}"/>
              </a:ext>
            </a:extLst>
          </p:cNvPr>
          <p:cNvCxnSpPr>
            <a:cxnSpLocks/>
          </p:cNvCxnSpPr>
          <p:nvPr userDrawn="1"/>
        </p:nvCxnSpPr>
        <p:spPr>
          <a:xfrm>
            <a:off x="10464448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>
            <a:extLst>
              <a:ext uri="{FF2B5EF4-FFF2-40B4-BE49-F238E27FC236}">
                <a16:creationId xmlns:a16="http://schemas.microsoft.com/office/drawing/2014/main" id="{DB88C81E-9589-1149-9378-9056B4856723}"/>
              </a:ext>
            </a:extLst>
          </p:cNvPr>
          <p:cNvCxnSpPr>
            <a:cxnSpLocks/>
          </p:cNvCxnSpPr>
          <p:nvPr userDrawn="1"/>
        </p:nvCxnSpPr>
        <p:spPr>
          <a:xfrm>
            <a:off x="11088512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>
            <a:extLst>
              <a:ext uri="{FF2B5EF4-FFF2-40B4-BE49-F238E27FC236}">
                <a16:creationId xmlns:a16="http://schemas.microsoft.com/office/drawing/2014/main" id="{12B60805-357D-5342-8149-FAA969EA2308}"/>
              </a:ext>
            </a:extLst>
          </p:cNvPr>
          <p:cNvCxnSpPr>
            <a:cxnSpLocks/>
          </p:cNvCxnSpPr>
          <p:nvPr userDrawn="1"/>
        </p:nvCxnSpPr>
        <p:spPr>
          <a:xfrm>
            <a:off x="11712575" y="0"/>
            <a:ext cx="0" cy="68580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113">
            <a:extLst>
              <a:ext uri="{FF2B5EF4-FFF2-40B4-BE49-F238E27FC236}">
                <a16:creationId xmlns:a16="http://schemas.microsoft.com/office/drawing/2014/main" id="{A8B0ABFC-B113-6344-B847-9D409766382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19630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114">
            <a:extLst>
              <a:ext uri="{FF2B5EF4-FFF2-40B4-BE49-F238E27FC236}">
                <a16:creationId xmlns:a16="http://schemas.microsoft.com/office/drawing/2014/main" id="{BB654164-0268-1746-857E-9B1F20D4939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936205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115">
            <a:extLst>
              <a:ext uri="{FF2B5EF4-FFF2-40B4-BE49-F238E27FC236}">
                <a16:creationId xmlns:a16="http://schemas.microsoft.com/office/drawing/2014/main" id="{96517CDF-1913-EF48-9AE0-1702B48AA40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312141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116">
            <a:extLst>
              <a:ext uri="{FF2B5EF4-FFF2-40B4-BE49-F238E27FC236}">
                <a16:creationId xmlns:a16="http://schemas.microsoft.com/office/drawing/2014/main" id="{EE8B728F-B5EF-C047-BE4A-81D7269DB26E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688077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>
            <a:extLst>
              <a:ext uri="{FF2B5EF4-FFF2-40B4-BE49-F238E27FC236}">
                <a16:creationId xmlns:a16="http://schemas.microsoft.com/office/drawing/2014/main" id="{E936FF51-F64E-F743-A756-D2B851BBFBE3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064013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118">
            <a:extLst>
              <a:ext uri="{FF2B5EF4-FFF2-40B4-BE49-F238E27FC236}">
                <a16:creationId xmlns:a16="http://schemas.microsoft.com/office/drawing/2014/main" id="{25045E3E-81FE-F845-A6E3-34754D6C215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39949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119">
            <a:extLst>
              <a:ext uri="{FF2B5EF4-FFF2-40B4-BE49-F238E27FC236}">
                <a16:creationId xmlns:a16="http://schemas.microsoft.com/office/drawing/2014/main" id="{81A02908-2D03-944A-A233-1C3F57C6AAF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815885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120">
            <a:extLst>
              <a:ext uri="{FF2B5EF4-FFF2-40B4-BE49-F238E27FC236}">
                <a16:creationId xmlns:a16="http://schemas.microsoft.com/office/drawing/2014/main" id="{C5317651-A18C-014B-8311-1DABCC5A221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191821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>
            <a:extLst>
              <a:ext uri="{FF2B5EF4-FFF2-40B4-BE49-F238E27FC236}">
                <a16:creationId xmlns:a16="http://schemas.microsoft.com/office/drawing/2014/main" id="{25F6BF5F-7FC8-6744-BA94-EE081EFFC99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67757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114D02C5-2D7C-1947-8FC7-0171AAE0EF4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943693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123">
            <a:extLst>
              <a:ext uri="{FF2B5EF4-FFF2-40B4-BE49-F238E27FC236}">
                <a16:creationId xmlns:a16="http://schemas.microsoft.com/office/drawing/2014/main" id="{F2FCDAD2-954C-9A48-B06B-E756025BFC9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6538370"/>
            <a:ext cx="609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ACC09E62-9D19-9841-A3D2-3A0D74D22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1" y="1565095"/>
            <a:ext cx="5206975" cy="4373792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5F93D8A-5C52-C54A-A9BB-22D3D8FEFC4F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00" name="Grafik 2">
              <a:extLst>
                <a:ext uri="{FF2B5EF4-FFF2-40B4-BE49-F238E27FC236}">
                  <a16:creationId xmlns:a16="http://schemas.microsoft.com/office/drawing/2014/main" id="{3A92CE48-CA8F-F545-ADF0-F7F032280F52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2C07DC45-29BE-8F4D-8896-9D575B3D31F8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25B79548-185F-094F-8C13-72477C700703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0D87816F-E122-D445-858F-4BB32020B0B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FD1CF28F-584D-F946-B23B-B28B2109A801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A2A33A2E-9674-964E-8275-3ADF7EE6659D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38F243AF-D3D2-5242-9397-16D9D68826B7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7D8FD206-1824-2F4E-A16A-7671DFAD1F03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 142">
                <a:extLst>
                  <a:ext uri="{FF2B5EF4-FFF2-40B4-BE49-F238E27FC236}">
                    <a16:creationId xmlns:a16="http://schemas.microsoft.com/office/drawing/2014/main" id="{2A78F440-E240-F741-BF38-4B765834423D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B8319859-2DD3-684D-9FD7-43197088E1A7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1" name="Grafik 2">
              <a:extLst>
                <a:ext uri="{FF2B5EF4-FFF2-40B4-BE49-F238E27FC236}">
                  <a16:creationId xmlns:a16="http://schemas.microsoft.com/office/drawing/2014/main" id="{2DC7B3FD-6E1D-AA40-8B14-97657F5DFBA8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D221CB68-1561-1E4A-AF1F-2104CD949E10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B1AA570E-8841-8E42-870E-7978D7A5756F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13ED6B98-5610-CD4F-B4FF-E3671F85EE3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C209DDD1-EED9-804A-BF4E-528BBC4F54DD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A76B7006-D450-8C48-BFFF-C6D744C6B33D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BB7B31EE-6507-7C44-8CA1-75F961340FC5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A2E11F29-5B04-9D47-9E1D-3B59553A64AE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D368E6AC-479A-A34F-A6B7-44DEBFE2AE9D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17051FA5-3C94-1C4B-A333-B0C313C089F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55351911-D063-9241-8C39-2E6C385D994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7" y="6290514"/>
            <a:ext cx="3609720" cy="268197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D839B3B-83A9-3E4D-A7A5-821B724FE38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723063" y="1565275"/>
            <a:ext cx="4989512" cy="437515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343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blau 1/4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2903849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E154646-0B06-6742-9ED6-3D57C1702D3D}"/>
              </a:ext>
            </a:extLst>
          </p:cNvPr>
          <p:cNvGrpSpPr/>
          <p:nvPr userDrawn="1"/>
        </p:nvGrpSpPr>
        <p:grpSpPr>
          <a:xfrm>
            <a:off x="3599745" y="0"/>
            <a:ext cx="8592255" cy="6858000"/>
            <a:chOff x="3599745" y="0"/>
            <a:chExt cx="8592255" cy="6858000"/>
          </a:xfrm>
        </p:grpSpPr>
        <p:cxnSp>
          <p:nvCxnSpPr>
            <p:cNvPr id="104" name="Gerade Verbindung 103">
              <a:extLst>
                <a:ext uri="{FF2B5EF4-FFF2-40B4-BE49-F238E27FC236}">
                  <a16:creationId xmlns:a16="http://schemas.microsoft.com/office/drawing/2014/main" id="{F0E9D360-71A9-2140-8821-438E0C25C4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>
              <a:extLst>
                <a:ext uri="{FF2B5EF4-FFF2-40B4-BE49-F238E27FC236}">
                  <a16:creationId xmlns:a16="http://schemas.microsoft.com/office/drawing/2014/main" id="{C3DE0588-BDF7-994A-9A25-FBBD5B5DE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>
              <a:extLst>
                <a:ext uri="{FF2B5EF4-FFF2-40B4-BE49-F238E27FC236}">
                  <a16:creationId xmlns:a16="http://schemas.microsoft.com/office/drawing/2014/main" id="{E23013DE-AD44-9140-BCF3-66A80BC96D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>
              <a:extLst>
                <a:ext uri="{FF2B5EF4-FFF2-40B4-BE49-F238E27FC236}">
                  <a16:creationId xmlns:a16="http://schemas.microsoft.com/office/drawing/2014/main" id="{05C705DA-33E8-7948-94C9-1E50F804676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>
              <a:extLst>
                <a:ext uri="{FF2B5EF4-FFF2-40B4-BE49-F238E27FC236}">
                  <a16:creationId xmlns:a16="http://schemas.microsoft.com/office/drawing/2014/main" id="{BFB5F12D-26D4-2148-A12B-62D3FBD59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F366B218-3B9D-9744-AB53-3993B97CBF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D98A11AD-7960-7B41-B866-C1FD65446E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9DDD5E61-B747-C741-992F-B4E7C1F42D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DB88C81E-9589-1149-9378-9056B4856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12B60805-357D-5342-8149-FAA969EA23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A8B0ABFC-B113-6344-B847-9D4097663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319630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B654164-0268-1746-857E-9B1F20D493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5936205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96517CDF-1913-EF48-9AE0-1702B48AA4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5312141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EE8B728F-B5EF-C047-BE4A-81D7269DB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4688077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E936FF51-F64E-F743-A756-D2B851BBFB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4064013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5045E3E-81FE-F845-A6E3-34754D6C21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3439949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81A02908-2D03-944A-A233-1C3F57C6AA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2815885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C5317651-A18C-014B-8311-1DABCC5A22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2191821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25F6BF5F-7FC8-6744-BA94-EE081EFFC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1567757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114D02C5-2D7C-1947-8FC7-0171AAE0EF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943693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F2FCDAD2-954C-9A48-B06B-E756025BFC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99745" y="6538370"/>
              <a:ext cx="8592255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447E2897-FFE5-C946-A89C-FA558F6B9E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71937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90EB53EB-0288-AF4D-96D3-DF279BDC95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5200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3045B6BB-8D7A-6C41-B190-DFDA4D8CE2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2794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35BE65A1-30AE-FE48-B5BC-70D1BD94C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00261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DF3AF187-569B-CC49-9274-0A48022B8A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2" y="1565095"/>
            <a:ext cx="2903858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7DAF303-9BFF-314E-9E58-91DB5E115CC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42" name="Grafik 2">
              <a:extLst>
                <a:ext uri="{FF2B5EF4-FFF2-40B4-BE49-F238E27FC236}">
                  <a16:creationId xmlns:a16="http://schemas.microsoft.com/office/drawing/2014/main" id="{766566C4-2DEE-AC43-B16F-09779B0DC97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CA893301-52B0-B44C-BE0F-5C13F497CA76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8D46B91D-DE98-4D48-8CC3-8C09FC41EA90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4AE5E9BF-6312-E249-AC06-9E3D9323359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20B2DF23-2903-C94D-A166-6AE8B2359DE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7263A87C-AAFB-CF47-9F31-D55024DFE1F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9E05EA4F-10BF-3F48-B915-4E8660BB42FB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5561C5F0-64F4-EC41-8121-4C990BF061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9AFA2FF-6B6F-654C-A3F7-E0E3E4D954F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361FD4A6-3925-8C4B-A697-8F6782DF9C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2">
              <a:extLst>
                <a:ext uri="{FF2B5EF4-FFF2-40B4-BE49-F238E27FC236}">
                  <a16:creationId xmlns:a16="http://schemas.microsoft.com/office/drawing/2014/main" id="{ADBB0513-DA70-C845-A5B7-C336F6763BD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974BC705-85E8-9549-A0C8-473F8D64763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20CC9539-5A58-174F-8FC4-6F9CD8CC8F78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6A32991-5293-2443-A158-007D4DCF9107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E4E44EF0-D4AC-D748-8B10-B8FA8DC6D8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EA3B2B3E-5223-E34C-BE1D-1EA7DA3EE70C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8B72CE9-39D8-0F41-BA1A-E2B185B74C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9FDC3B83-8E59-0942-A3C7-78874AF89CD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9E6E2AC9-9011-F145-86E9-78EC1F24980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B2329160-C0F9-2B46-A2A5-693189972AF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3007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Rast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C49D9B1-1E72-5447-9C5B-68287A533229}"/>
              </a:ext>
            </a:extLst>
          </p:cNvPr>
          <p:cNvGrpSpPr/>
          <p:nvPr userDrawn="1"/>
        </p:nvGrpSpPr>
        <p:grpSpPr>
          <a:xfrm>
            <a:off x="6096000" y="0"/>
            <a:ext cx="6096000" cy="6858000"/>
            <a:chOff x="6096000" y="0"/>
            <a:chExt cx="6096000" cy="6858000"/>
          </a:xfrm>
        </p:grpSpPr>
        <p:cxnSp>
          <p:nvCxnSpPr>
            <p:cNvPr id="29" name="Gerade Verbindung 28">
              <a:extLst>
                <a:ext uri="{FF2B5EF4-FFF2-40B4-BE49-F238E27FC236}">
                  <a16:creationId xmlns:a16="http://schemas.microsoft.com/office/drawing/2014/main" id="{6931B090-2469-314D-82C6-C3A1D6E14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>
              <a:extLst>
                <a:ext uri="{FF2B5EF4-FFF2-40B4-BE49-F238E27FC236}">
                  <a16:creationId xmlns:a16="http://schemas.microsoft.com/office/drawing/2014/main" id="{D5E96805-D835-6A4B-9762-1F6EB48EA1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>
              <a:extLst>
                <a:ext uri="{FF2B5EF4-FFF2-40B4-BE49-F238E27FC236}">
                  <a16:creationId xmlns:a16="http://schemas.microsoft.com/office/drawing/2014/main" id="{F8378EBA-2271-3741-B55D-AA7D48E240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>
              <a:extLst>
                <a:ext uri="{FF2B5EF4-FFF2-40B4-BE49-F238E27FC236}">
                  <a16:creationId xmlns:a16="http://schemas.microsoft.com/office/drawing/2014/main" id="{04BDB2F0-7079-4B4B-992D-A85C0CA358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>
              <a:extLst>
                <a:ext uri="{FF2B5EF4-FFF2-40B4-BE49-F238E27FC236}">
                  <a16:creationId xmlns:a16="http://schemas.microsoft.com/office/drawing/2014/main" id="{D738103E-9487-3B43-9DC6-11B9BF05DC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>
              <a:extLst>
                <a:ext uri="{FF2B5EF4-FFF2-40B4-BE49-F238E27FC236}">
                  <a16:creationId xmlns:a16="http://schemas.microsoft.com/office/drawing/2014/main" id="{5A9A896E-9F95-DD42-B945-03C7CADC0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>
              <a:extLst>
                <a:ext uri="{FF2B5EF4-FFF2-40B4-BE49-F238E27FC236}">
                  <a16:creationId xmlns:a16="http://schemas.microsoft.com/office/drawing/2014/main" id="{C0B0F871-0DC1-464D-8F58-CC898D6CDC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>
              <a:extLst>
                <a:ext uri="{FF2B5EF4-FFF2-40B4-BE49-F238E27FC236}">
                  <a16:creationId xmlns:a16="http://schemas.microsoft.com/office/drawing/2014/main" id="{F87E773C-14AF-9B4F-80D9-3A79EED514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>
              <a:extLst>
                <a:ext uri="{FF2B5EF4-FFF2-40B4-BE49-F238E27FC236}">
                  <a16:creationId xmlns:a16="http://schemas.microsoft.com/office/drawing/2014/main" id="{E9E6D25E-6802-D14E-8E4C-CF438B8FAD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>
              <a:extLst>
                <a:ext uri="{FF2B5EF4-FFF2-40B4-BE49-F238E27FC236}">
                  <a16:creationId xmlns:a16="http://schemas.microsoft.com/office/drawing/2014/main" id="{D8574A65-F150-C94B-A78E-AAF31905C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>
              <a:extLst>
                <a:ext uri="{FF2B5EF4-FFF2-40B4-BE49-F238E27FC236}">
                  <a16:creationId xmlns:a16="http://schemas.microsoft.com/office/drawing/2014/main" id="{EEAB849B-4066-7548-86C1-354149D61F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319630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68619438-4034-7C4F-8BC0-1A3AC840D2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5936205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>
              <a:extLst>
                <a:ext uri="{FF2B5EF4-FFF2-40B4-BE49-F238E27FC236}">
                  <a16:creationId xmlns:a16="http://schemas.microsoft.com/office/drawing/2014/main" id="{62873F1E-4C7B-6C4A-A30B-DE49A82B67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5312141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>
              <a:extLst>
                <a:ext uri="{FF2B5EF4-FFF2-40B4-BE49-F238E27FC236}">
                  <a16:creationId xmlns:a16="http://schemas.microsoft.com/office/drawing/2014/main" id="{0D01FBE7-E9BB-8C4D-B00C-8D306EF490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4688077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>
              <a:extLst>
                <a:ext uri="{FF2B5EF4-FFF2-40B4-BE49-F238E27FC236}">
                  <a16:creationId xmlns:a16="http://schemas.microsoft.com/office/drawing/2014/main" id="{38701CB1-8CEC-2D4C-8934-B9514EB1A8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4051293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>
              <a:extLst>
                <a:ext uri="{FF2B5EF4-FFF2-40B4-BE49-F238E27FC236}">
                  <a16:creationId xmlns:a16="http://schemas.microsoft.com/office/drawing/2014/main" id="{075D67B7-8588-2D4A-8BE2-5E3D6C6EE2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3439949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>
              <a:extLst>
                <a:ext uri="{FF2B5EF4-FFF2-40B4-BE49-F238E27FC236}">
                  <a16:creationId xmlns:a16="http://schemas.microsoft.com/office/drawing/2014/main" id="{0F2EF517-091F-8B40-8101-4ED7DCAB71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2815885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>
              <a:extLst>
                <a:ext uri="{FF2B5EF4-FFF2-40B4-BE49-F238E27FC236}">
                  <a16:creationId xmlns:a16="http://schemas.microsoft.com/office/drawing/2014/main" id="{E64ADAA6-7E65-1245-BC64-8B4AB9699C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2191821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98AD07C5-697D-8340-915C-3B94D48C7B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1567757"/>
              <a:ext cx="60912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>
              <a:extLst>
                <a:ext uri="{FF2B5EF4-FFF2-40B4-BE49-F238E27FC236}">
                  <a16:creationId xmlns:a16="http://schemas.microsoft.com/office/drawing/2014/main" id="{667C0343-F959-5A4E-96C8-373D60220F75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9144884" y="-2101907"/>
              <a:ext cx="0" cy="60912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>
              <a:extLst>
                <a:ext uri="{FF2B5EF4-FFF2-40B4-BE49-F238E27FC236}">
                  <a16:creationId xmlns:a16="http://schemas.microsoft.com/office/drawing/2014/main" id="{33D48DEA-4BF4-AF42-BFB3-62FA970A446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9284" y="6538370"/>
              <a:ext cx="609271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itel 1">
            <a:extLst>
              <a:ext uri="{FF2B5EF4-FFF2-40B4-BE49-F238E27FC236}">
                <a16:creationId xmlns:a16="http://schemas.microsoft.com/office/drawing/2014/main" id="{34B341E9-30F6-5548-BF7F-D327397D5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633083"/>
            <a:ext cx="5250816" cy="1342547"/>
          </a:xfrm>
        </p:spPr>
        <p:txBody>
          <a:bodyPr lIns="0" tIns="0" rIns="90000" anchor="t">
            <a:noAutofit/>
          </a:bodyPr>
          <a:lstStyle>
            <a:lvl1pPr algn="l">
              <a:lnSpc>
                <a:spcPct val="80000"/>
              </a:lnSpc>
              <a:defRPr sz="5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7" name="Untertitel 2">
            <a:extLst>
              <a:ext uri="{FF2B5EF4-FFF2-40B4-BE49-F238E27FC236}">
                <a16:creationId xmlns:a16="http://schemas.microsoft.com/office/drawing/2014/main" id="{D5D4B9DA-F356-564B-9054-9186962F41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3394908"/>
            <a:ext cx="5256214" cy="365125"/>
          </a:xfrm>
        </p:spPr>
        <p:txBody>
          <a:bodyPr lIns="0" tIns="0">
            <a:noAutofit/>
          </a:bodyPr>
          <a:lstStyle>
            <a:lvl1pPr marL="0" indent="0" algn="l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FDE73212-C976-2047-B1A4-D31128972129}"/>
              </a:ext>
            </a:extLst>
          </p:cNvPr>
          <p:cNvGrpSpPr/>
          <p:nvPr userDrawn="1"/>
        </p:nvGrpSpPr>
        <p:grpSpPr>
          <a:xfrm>
            <a:off x="479422" y="6290517"/>
            <a:ext cx="1152000" cy="234528"/>
            <a:chOff x="479422" y="6290517"/>
            <a:chExt cx="1152000" cy="234528"/>
          </a:xfrm>
        </p:grpSpPr>
        <p:grpSp>
          <p:nvGrpSpPr>
            <p:cNvPr id="79" name="Grafik 2">
              <a:extLst>
                <a:ext uri="{FF2B5EF4-FFF2-40B4-BE49-F238E27FC236}">
                  <a16:creationId xmlns:a16="http://schemas.microsoft.com/office/drawing/2014/main" id="{78DB7C79-9B67-2B4D-B016-43C81B8BEEB4}"/>
                </a:ext>
              </a:extLst>
            </p:cNvPr>
            <p:cNvGrpSpPr/>
            <p:nvPr/>
          </p:nvGrpSpPr>
          <p:grpSpPr>
            <a:xfrm>
              <a:off x="484254" y="6290517"/>
              <a:ext cx="1020470" cy="110346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90" name="Freihandform 89">
                <a:extLst>
                  <a:ext uri="{FF2B5EF4-FFF2-40B4-BE49-F238E27FC236}">
                    <a16:creationId xmlns:a16="http://schemas.microsoft.com/office/drawing/2014/main" id="{4EFB7D91-E017-AB45-A072-BDFA4AD4006C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 90">
                <a:extLst>
                  <a:ext uri="{FF2B5EF4-FFF2-40B4-BE49-F238E27FC236}">
                    <a16:creationId xmlns:a16="http://schemas.microsoft.com/office/drawing/2014/main" id="{32AF23A4-4B30-484B-9E70-11AC5406D9BE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 91">
                <a:extLst>
                  <a:ext uri="{FF2B5EF4-FFF2-40B4-BE49-F238E27FC236}">
                    <a16:creationId xmlns:a16="http://schemas.microsoft.com/office/drawing/2014/main" id="{F1F9B1F1-E2CD-D941-9DBA-4BE628463906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 92">
                <a:extLst>
                  <a:ext uri="{FF2B5EF4-FFF2-40B4-BE49-F238E27FC236}">
                    <a16:creationId xmlns:a16="http://schemas.microsoft.com/office/drawing/2014/main" id="{F8E79114-7FAF-EF41-9C36-10CE3F4FE09E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 93">
                <a:extLst>
                  <a:ext uri="{FF2B5EF4-FFF2-40B4-BE49-F238E27FC236}">
                    <a16:creationId xmlns:a16="http://schemas.microsoft.com/office/drawing/2014/main" id="{9C8EBE3C-6E34-584A-9C61-68E86BB72337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 94">
                <a:extLst>
                  <a:ext uri="{FF2B5EF4-FFF2-40B4-BE49-F238E27FC236}">
                    <a16:creationId xmlns:a16="http://schemas.microsoft.com/office/drawing/2014/main" id="{D8D45DF3-95B5-1440-A3A9-04C33341CC18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Freihandform 95">
                <a:extLst>
                  <a:ext uri="{FF2B5EF4-FFF2-40B4-BE49-F238E27FC236}">
                    <a16:creationId xmlns:a16="http://schemas.microsoft.com/office/drawing/2014/main" id="{6805DC5E-4A34-5249-8239-14BC0F5D1480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" name="Freihandform 96">
                <a:extLst>
                  <a:ext uri="{FF2B5EF4-FFF2-40B4-BE49-F238E27FC236}">
                    <a16:creationId xmlns:a16="http://schemas.microsoft.com/office/drawing/2014/main" id="{6B9D734E-B89A-7F43-8F31-5C0575C5F6DC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8" name="Freihandform 97">
                <a:extLst>
                  <a:ext uri="{FF2B5EF4-FFF2-40B4-BE49-F238E27FC236}">
                    <a16:creationId xmlns:a16="http://schemas.microsoft.com/office/drawing/2014/main" id="{B2094F2A-9D9C-9347-9594-CC051C8E90C0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0" name="Grafik 2">
              <a:extLst>
                <a:ext uri="{FF2B5EF4-FFF2-40B4-BE49-F238E27FC236}">
                  <a16:creationId xmlns:a16="http://schemas.microsoft.com/office/drawing/2014/main" id="{67E35106-EE48-774B-82AD-D801573F901D}"/>
                </a:ext>
              </a:extLst>
            </p:cNvPr>
            <p:cNvGrpSpPr/>
            <p:nvPr/>
          </p:nvGrpSpPr>
          <p:grpSpPr>
            <a:xfrm>
              <a:off x="479422" y="6305046"/>
              <a:ext cx="1152000" cy="219999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81" name="Freihandform 80">
                <a:extLst>
                  <a:ext uri="{FF2B5EF4-FFF2-40B4-BE49-F238E27FC236}">
                    <a16:creationId xmlns:a16="http://schemas.microsoft.com/office/drawing/2014/main" id="{4782E9CA-461F-F143-91B8-104AE7076165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 81">
                <a:extLst>
                  <a:ext uri="{FF2B5EF4-FFF2-40B4-BE49-F238E27FC236}">
                    <a16:creationId xmlns:a16="http://schemas.microsoft.com/office/drawing/2014/main" id="{2CB796C7-78E7-B042-9805-17402448282C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 82">
                <a:extLst>
                  <a:ext uri="{FF2B5EF4-FFF2-40B4-BE49-F238E27FC236}">
                    <a16:creationId xmlns:a16="http://schemas.microsoft.com/office/drawing/2014/main" id="{F4493729-6B7A-7346-8F3B-9E556A55A80C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 83">
                <a:extLst>
                  <a:ext uri="{FF2B5EF4-FFF2-40B4-BE49-F238E27FC236}">
                    <a16:creationId xmlns:a16="http://schemas.microsoft.com/office/drawing/2014/main" id="{B13CAB3F-6F82-4248-ACC2-A23658320D28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 84">
                <a:extLst>
                  <a:ext uri="{FF2B5EF4-FFF2-40B4-BE49-F238E27FC236}">
                    <a16:creationId xmlns:a16="http://schemas.microsoft.com/office/drawing/2014/main" id="{46D6F614-E9E3-4044-9988-73AAB1C9DAA7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 85">
                <a:extLst>
                  <a:ext uri="{FF2B5EF4-FFF2-40B4-BE49-F238E27FC236}">
                    <a16:creationId xmlns:a16="http://schemas.microsoft.com/office/drawing/2014/main" id="{E236599A-846A-0D4C-A1CD-93A45A6557F7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 86">
                <a:extLst>
                  <a:ext uri="{FF2B5EF4-FFF2-40B4-BE49-F238E27FC236}">
                    <a16:creationId xmlns:a16="http://schemas.microsoft.com/office/drawing/2014/main" id="{A963AC63-3C0D-FB42-824D-F90404882687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 87">
                <a:extLst>
                  <a:ext uri="{FF2B5EF4-FFF2-40B4-BE49-F238E27FC236}">
                    <a16:creationId xmlns:a16="http://schemas.microsoft.com/office/drawing/2014/main" id="{B510C430-F639-864E-BA8F-754E12F24E45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 88">
                <a:extLst>
                  <a:ext uri="{FF2B5EF4-FFF2-40B4-BE49-F238E27FC236}">
                    <a16:creationId xmlns:a16="http://schemas.microsoft.com/office/drawing/2014/main" id="{5919B753-B71A-D64D-80D1-1893C02B0676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860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  <p15:guide id="3" pos="3613">
          <p15:clr>
            <a:srgbClr val="FBAE40"/>
          </p15:clr>
        </p15:guide>
        <p15:guide id="4" pos="40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ke Away – blau 1/4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2903849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7DAF303-9BFF-314E-9E58-91DB5E115CC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42" name="Grafik 2">
              <a:extLst>
                <a:ext uri="{FF2B5EF4-FFF2-40B4-BE49-F238E27FC236}">
                  <a16:creationId xmlns:a16="http://schemas.microsoft.com/office/drawing/2014/main" id="{766566C4-2DEE-AC43-B16F-09779B0DC97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CA893301-52B0-B44C-BE0F-5C13F497CA76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8D46B91D-DE98-4D48-8CC3-8C09FC41EA90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4AE5E9BF-6312-E249-AC06-9E3D9323359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20B2DF23-2903-C94D-A166-6AE8B2359DE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7263A87C-AAFB-CF47-9F31-D55024DFE1F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9E05EA4F-10BF-3F48-B915-4E8660BB42FB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5561C5F0-64F4-EC41-8121-4C990BF061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9AFA2FF-6B6F-654C-A3F7-E0E3E4D954F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361FD4A6-3925-8C4B-A697-8F6782DF9C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2">
              <a:extLst>
                <a:ext uri="{FF2B5EF4-FFF2-40B4-BE49-F238E27FC236}">
                  <a16:creationId xmlns:a16="http://schemas.microsoft.com/office/drawing/2014/main" id="{ADBB0513-DA70-C845-A5B7-C336F6763BD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974BC705-85E8-9549-A0C8-473F8D64763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20CC9539-5A58-174F-8FC4-6F9CD8CC8F78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6A32991-5293-2443-A158-007D4DCF9107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E4E44EF0-D4AC-D748-8B10-B8FA8DC6D8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EA3B2B3E-5223-E34C-BE1D-1EA7DA3EE70C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8B72CE9-39D8-0F41-BA1A-E2B185B74C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9FDC3B83-8E59-0942-A3C7-78874AF89CD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9E6E2AC9-9011-F145-86E9-78EC1F24980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B2329160-C0F9-2B46-A2A5-693189972AF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32AC072F-CFE4-C841-8549-547110CA1A44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79422" y="1565095"/>
            <a:ext cx="4344826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382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6821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ke Away – blau 1/4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2903849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71C26C00-7A61-79FE-1DBA-1B77E098E43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7DAF303-9BFF-314E-9E58-91DB5E115CC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42" name="Grafik 2">
              <a:extLst>
                <a:ext uri="{FF2B5EF4-FFF2-40B4-BE49-F238E27FC236}">
                  <a16:creationId xmlns:a16="http://schemas.microsoft.com/office/drawing/2014/main" id="{766566C4-2DEE-AC43-B16F-09779B0DC97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CA893301-52B0-B44C-BE0F-5C13F497CA76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8D46B91D-DE98-4D48-8CC3-8C09FC41EA90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4AE5E9BF-6312-E249-AC06-9E3D9323359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20B2DF23-2903-C94D-A166-6AE8B2359DE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7263A87C-AAFB-CF47-9F31-D55024DFE1F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9E05EA4F-10BF-3F48-B915-4E8660BB42FB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5561C5F0-64F4-EC41-8121-4C990BF061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9AFA2FF-6B6F-654C-A3F7-E0E3E4D954F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361FD4A6-3925-8C4B-A697-8F6782DF9C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2">
              <a:extLst>
                <a:ext uri="{FF2B5EF4-FFF2-40B4-BE49-F238E27FC236}">
                  <a16:creationId xmlns:a16="http://schemas.microsoft.com/office/drawing/2014/main" id="{ADBB0513-DA70-C845-A5B7-C336F6763BD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974BC705-85E8-9549-A0C8-473F8D64763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20CC9539-5A58-174F-8FC4-6F9CD8CC8F78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6A32991-5293-2443-A158-007D4DCF9107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E4E44EF0-D4AC-D748-8B10-B8FA8DC6D8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EA3B2B3E-5223-E34C-BE1D-1EA7DA3EE70C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8B72CE9-39D8-0F41-BA1A-E2B185B74C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9FDC3B83-8E59-0942-A3C7-78874AF89CD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9E6E2AC9-9011-F145-86E9-78EC1F24980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B2329160-C0F9-2B46-A2A5-693189972AF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8779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ke Away – blau 1/4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490E217-7AFF-A5C1-8781-D0C9E6719472}"/>
              </a:ext>
            </a:extLst>
          </p:cNvPr>
          <p:cNvGrpSpPr/>
          <p:nvPr userDrawn="1"/>
        </p:nvGrpSpPr>
        <p:grpSpPr>
          <a:xfrm>
            <a:off x="-2067" y="-1"/>
            <a:ext cx="12194067" cy="6858001"/>
            <a:chOff x="-2067" y="-1"/>
            <a:chExt cx="12194067" cy="6858001"/>
          </a:xfrm>
        </p:grpSpPr>
        <p:pic>
          <p:nvPicPr>
            <p:cNvPr id="7" name="Picture 6" descr="A group of wind turbines&#10;&#10;Description automatically generated with low confidence">
              <a:extLst>
                <a:ext uri="{FF2B5EF4-FFF2-40B4-BE49-F238E27FC236}">
                  <a16:creationId xmlns:a16="http://schemas.microsoft.com/office/drawing/2014/main" id="{B6255A5F-CDDF-9830-0FD6-8A1A5ED6CB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2067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DD6DF8-1E42-E91C-D2C6-52E4F8386F46}"/>
                </a:ext>
              </a:extLst>
            </p:cNvPr>
            <p:cNvSpPr/>
            <p:nvPr userDrawn="1"/>
          </p:nvSpPr>
          <p:spPr>
            <a:xfrm>
              <a:off x="13" y="-1"/>
              <a:ext cx="12191987" cy="6857999"/>
            </a:xfrm>
            <a:prstGeom prst="rect">
              <a:avLst/>
            </a:prstGeom>
            <a:solidFill>
              <a:schemeClr val="accent2">
                <a:alpha val="80112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2903849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7DAF303-9BFF-314E-9E58-91DB5E115CC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42" name="Grafik 2">
              <a:extLst>
                <a:ext uri="{FF2B5EF4-FFF2-40B4-BE49-F238E27FC236}">
                  <a16:creationId xmlns:a16="http://schemas.microsoft.com/office/drawing/2014/main" id="{766566C4-2DEE-AC43-B16F-09779B0DC97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CA893301-52B0-B44C-BE0F-5C13F497CA76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8D46B91D-DE98-4D48-8CC3-8C09FC41EA90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4AE5E9BF-6312-E249-AC06-9E3D9323359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20B2DF23-2903-C94D-A166-6AE8B2359DE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7263A87C-AAFB-CF47-9F31-D55024DFE1F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9E05EA4F-10BF-3F48-B915-4E8660BB42FB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5561C5F0-64F4-EC41-8121-4C990BF061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9AFA2FF-6B6F-654C-A3F7-E0E3E4D954F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361FD4A6-3925-8C4B-A697-8F6782DF9C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2">
              <a:extLst>
                <a:ext uri="{FF2B5EF4-FFF2-40B4-BE49-F238E27FC236}">
                  <a16:creationId xmlns:a16="http://schemas.microsoft.com/office/drawing/2014/main" id="{ADBB0513-DA70-C845-A5B7-C336F6763BD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974BC705-85E8-9549-A0C8-473F8D64763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20CC9539-5A58-174F-8FC4-6F9CD8CC8F78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6A32991-5293-2443-A158-007D4DCF9107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E4E44EF0-D4AC-D748-8B10-B8FA8DC6D8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EA3B2B3E-5223-E34C-BE1D-1EA7DA3EE70C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8B72CE9-39D8-0F41-BA1A-E2B185B74C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9FDC3B83-8E59-0942-A3C7-78874AF89CD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9E6E2AC9-9011-F145-86E9-78EC1F24980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B2329160-C0F9-2B46-A2A5-693189972AF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71C26C00-7A61-79FE-1DBA-1B77E098E43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303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ke Away – blau 1/4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6255A5F-CDDF-9830-0FD6-8A1A5ED6CB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192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7DD6DF8-1E42-E91C-D2C6-52E4F8386F46}"/>
              </a:ext>
            </a:extLst>
          </p:cNvPr>
          <p:cNvSpPr/>
          <p:nvPr userDrawn="1"/>
        </p:nvSpPr>
        <p:spPr>
          <a:xfrm>
            <a:off x="1" y="0"/>
            <a:ext cx="12191998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2903849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7DAF303-9BFF-314E-9E58-91DB5E115CC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42" name="Grafik 2">
              <a:extLst>
                <a:ext uri="{FF2B5EF4-FFF2-40B4-BE49-F238E27FC236}">
                  <a16:creationId xmlns:a16="http://schemas.microsoft.com/office/drawing/2014/main" id="{766566C4-2DEE-AC43-B16F-09779B0DC97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CA893301-52B0-B44C-BE0F-5C13F497CA76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8D46B91D-DE98-4D48-8CC3-8C09FC41EA90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4AE5E9BF-6312-E249-AC06-9E3D9323359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20B2DF23-2903-C94D-A166-6AE8B2359DE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7263A87C-AAFB-CF47-9F31-D55024DFE1F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9E05EA4F-10BF-3F48-B915-4E8660BB42FB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5561C5F0-64F4-EC41-8121-4C990BF061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9AFA2FF-6B6F-654C-A3F7-E0E3E4D954F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361FD4A6-3925-8C4B-A697-8F6782DF9C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2">
              <a:extLst>
                <a:ext uri="{FF2B5EF4-FFF2-40B4-BE49-F238E27FC236}">
                  <a16:creationId xmlns:a16="http://schemas.microsoft.com/office/drawing/2014/main" id="{ADBB0513-DA70-C845-A5B7-C336F6763BD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974BC705-85E8-9549-A0C8-473F8D64763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20CC9539-5A58-174F-8FC4-6F9CD8CC8F78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6A32991-5293-2443-A158-007D4DCF9107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E4E44EF0-D4AC-D748-8B10-B8FA8DC6D8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EA3B2B3E-5223-E34C-BE1D-1EA7DA3EE70C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8B72CE9-39D8-0F41-BA1A-E2B185B74C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9FDC3B83-8E59-0942-A3C7-78874AF89CD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9E6E2AC9-9011-F145-86E9-78EC1F24980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B2329160-C0F9-2B46-A2A5-693189972AF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71C26C00-7A61-79FE-1DBA-1B77E098E43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33279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Text 1/2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16986"/>
            <a:ext cx="5206961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64D8DC0-A4F4-3841-823E-FA8B16FD354A}"/>
              </a:ext>
            </a:extLst>
          </p:cNvPr>
          <p:cNvGrpSpPr/>
          <p:nvPr userDrawn="1"/>
        </p:nvGrpSpPr>
        <p:grpSpPr>
          <a:xfrm>
            <a:off x="6096000" y="0"/>
            <a:ext cx="6096000" cy="6858000"/>
            <a:chOff x="6096000" y="0"/>
            <a:chExt cx="6096000" cy="6858000"/>
          </a:xfrm>
        </p:grpSpPr>
        <p:cxnSp>
          <p:nvCxnSpPr>
            <p:cNvPr id="104" name="Gerade Verbindung 103">
              <a:extLst>
                <a:ext uri="{FF2B5EF4-FFF2-40B4-BE49-F238E27FC236}">
                  <a16:creationId xmlns:a16="http://schemas.microsoft.com/office/drawing/2014/main" id="{F0E9D360-71A9-2140-8821-438E0C25C4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>
              <a:extLst>
                <a:ext uri="{FF2B5EF4-FFF2-40B4-BE49-F238E27FC236}">
                  <a16:creationId xmlns:a16="http://schemas.microsoft.com/office/drawing/2014/main" id="{C3DE0588-BDF7-994A-9A25-FBBD5B5DE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>
              <a:extLst>
                <a:ext uri="{FF2B5EF4-FFF2-40B4-BE49-F238E27FC236}">
                  <a16:creationId xmlns:a16="http://schemas.microsoft.com/office/drawing/2014/main" id="{E23013DE-AD44-9140-BCF3-66A80BC96D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>
              <a:extLst>
                <a:ext uri="{FF2B5EF4-FFF2-40B4-BE49-F238E27FC236}">
                  <a16:creationId xmlns:a16="http://schemas.microsoft.com/office/drawing/2014/main" id="{05C705DA-33E8-7948-94C9-1E50F804676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>
              <a:extLst>
                <a:ext uri="{FF2B5EF4-FFF2-40B4-BE49-F238E27FC236}">
                  <a16:creationId xmlns:a16="http://schemas.microsoft.com/office/drawing/2014/main" id="{BFB5F12D-26D4-2148-A12B-62D3FBD59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F366B218-3B9D-9744-AB53-3993B97CBF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D98A11AD-7960-7B41-B866-C1FD65446E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9DDD5E61-B747-C741-992F-B4E7C1F42D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DB88C81E-9589-1149-9378-9056B4856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12B60805-357D-5342-8149-FAA969EA23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A8B0ABFC-B113-6344-B847-9D4097663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319630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B654164-0268-1746-857E-9B1F20D493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5936205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96517CDF-1913-EF48-9AE0-1702B48AA4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5312141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EE8B728F-B5EF-C047-BE4A-81D7269DB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4688077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E936FF51-F64E-F743-A756-D2B851BBFB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4064013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5045E3E-81FE-F845-A6E3-34754D6C21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3439949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81A02908-2D03-944A-A233-1C3F57C6AA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2815885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C5317651-A18C-014B-8311-1DABCC5A22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2191821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25F6BF5F-7FC8-6744-BA94-EE081EFFC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1567757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114D02C5-2D7C-1947-8FC7-0171AAE0EF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943693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F2FCDAD2-954C-9A48-B06B-E756025BFC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6538370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ACC09E62-9D19-9841-A3D2-3A0D74D22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1" y="1565095"/>
            <a:ext cx="5206975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55351911-D063-9241-8C39-2E6C385D994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7" y="6290514"/>
            <a:ext cx="3609720" cy="268197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F061029-85A2-224A-934E-8F3D9D7EF1C1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49" name="Grafik 2">
              <a:extLst>
                <a:ext uri="{FF2B5EF4-FFF2-40B4-BE49-F238E27FC236}">
                  <a16:creationId xmlns:a16="http://schemas.microsoft.com/office/drawing/2014/main" id="{DE8AB337-E343-2341-88A0-365F77046EA2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5A24B806-0C9D-D94C-90EC-AA9A40F7F929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385A0862-7CB9-034A-A916-38FFE62F0A99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105645C8-FCBF-964C-93BC-1D931844BCAA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A22A3C81-615D-664A-BEE6-B5B957A7B39F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1674108C-396E-8840-8488-555621A0B3C2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977531BA-94B0-4B4F-8544-395D8C5AC810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817D86E5-318C-A54F-9663-89375157E5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 66">
                <a:extLst>
                  <a:ext uri="{FF2B5EF4-FFF2-40B4-BE49-F238E27FC236}">
                    <a16:creationId xmlns:a16="http://schemas.microsoft.com/office/drawing/2014/main" id="{364AA518-EC97-3646-AD1A-6598A15600B1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7B05B68B-C308-0642-A1BA-D6056AC02ABE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0" name="Grafik 2">
              <a:extLst>
                <a:ext uri="{FF2B5EF4-FFF2-40B4-BE49-F238E27FC236}">
                  <a16:creationId xmlns:a16="http://schemas.microsoft.com/office/drawing/2014/main" id="{2A008557-AEC5-5F4F-8736-8A48A1D717C5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51" name="Freihandform 50">
                <a:extLst>
                  <a:ext uri="{FF2B5EF4-FFF2-40B4-BE49-F238E27FC236}">
                    <a16:creationId xmlns:a16="http://schemas.microsoft.com/office/drawing/2014/main" id="{1BBD79E1-90B6-9846-89BA-6173C1D9EAA1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 51">
                <a:extLst>
                  <a:ext uri="{FF2B5EF4-FFF2-40B4-BE49-F238E27FC236}">
                    <a16:creationId xmlns:a16="http://schemas.microsoft.com/office/drawing/2014/main" id="{A56FFDF8-EF6E-F348-9CBF-1AB14A230764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 52">
                <a:extLst>
                  <a:ext uri="{FF2B5EF4-FFF2-40B4-BE49-F238E27FC236}">
                    <a16:creationId xmlns:a16="http://schemas.microsoft.com/office/drawing/2014/main" id="{6AD0184C-3AFD-7D47-9E64-58539A32EEC0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 53">
                <a:extLst>
                  <a:ext uri="{FF2B5EF4-FFF2-40B4-BE49-F238E27FC236}">
                    <a16:creationId xmlns:a16="http://schemas.microsoft.com/office/drawing/2014/main" id="{DA5C2EB6-A07A-D04E-97F3-7603677516A3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 54">
                <a:extLst>
                  <a:ext uri="{FF2B5EF4-FFF2-40B4-BE49-F238E27FC236}">
                    <a16:creationId xmlns:a16="http://schemas.microsoft.com/office/drawing/2014/main" id="{9224855F-552E-464F-80A9-DA8EF8F6EF4B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 55">
                <a:extLst>
                  <a:ext uri="{FF2B5EF4-FFF2-40B4-BE49-F238E27FC236}">
                    <a16:creationId xmlns:a16="http://schemas.microsoft.com/office/drawing/2014/main" id="{E60DBF14-249D-F84C-8199-98F598DB62D4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C98E2ED1-A6B2-9E47-88AE-44F515B8839F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953F9D42-D61E-AB4B-A06F-B75361796836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FEC961A8-D260-D64A-8D4A-EBC7D74593DC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5692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ke away – Text 1/2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572769" y="316986"/>
            <a:ext cx="4316904" cy="229181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64D8DC0-A4F4-3841-823E-FA8B16FD354A}"/>
              </a:ext>
            </a:extLst>
          </p:cNvPr>
          <p:cNvGrpSpPr/>
          <p:nvPr userDrawn="1"/>
        </p:nvGrpSpPr>
        <p:grpSpPr>
          <a:xfrm rot="10800000">
            <a:off x="-2659" y="0"/>
            <a:ext cx="6096000" cy="6858000"/>
            <a:chOff x="6096000" y="0"/>
            <a:chExt cx="6096000" cy="6858000"/>
          </a:xfrm>
        </p:grpSpPr>
        <p:cxnSp>
          <p:nvCxnSpPr>
            <p:cNvPr id="104" name="Gerade Verbindung 103">
              <a:extLst>
                <a:ext uri="{FF2B5EF4-FFF2-40B4-BE49-F238E27FC236}">
                  <a16:creationId xmlns:a16="http://schemas.microsoft.com/office/drawing/2014/main" id="{F0E9D360-71A9-2140-8821-438E0C25C4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>
              <a:extLst>
                <a:ext uri="{FF2B5EF4-FFF2-40B4-BE49-F238E27FC236}">
                  <a16:creationId xmlns:a16="http://schemas.microsoft.com/office/drawing/2014/main" id="{C3DE0588-BDF7-994A-9A25-FBBD5B5DE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>
              <a:extLst>
                <a:ext uri="{FF2B5EF4-FFF2-40B4-BE49-F238E27FC236}">
                  <a16:creationId xmlns:a16="http://schemas.microsoft.com/office/drawing/2014/main" id="{E23013DE-AD44-9140-BCF3-66A80BC96D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>
              <a:extLst>
                <a:ext uri="{FF2B5EF4-FFF2-40B4-BE49-F238E27FC236}">
                  <a16:creationId xmlns:a16="http://schemas.microsoft.com/office/drawing/2014/main" id="{05C705DA-33E8-7948-94C9-1E50F804676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>
              <a:extLst>
                <a:ext uri="{FF2B5EF4-FFF2-40B4-BE49-F238E27FC236}">
                  <a16:creationId xmlns:a16="http://schemas.microsoft.com/office/drawing/2014/main" id="{BFB5F12D-26D4-2148-A12B-62D3FBD59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F366B218-3B9D-9744-AB53-3993B97CBF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D98A11AD-7960-7B41-B866-C1FD65446E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9DDD5E61-B747-C741-992F-B4E7C1F42D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DB88C81E-9589-1149-9378-9056B4856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12B60805-357D-5342-8149-FAA969EA23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A8B0ABFC-B113-6344-B847-9D4097663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319630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B654164-0268-1746-857E-9B1F20D493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5936205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96517CDF-1913-EF48-9AE0-1702B48AA4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5312141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EE8B728F-B5EF-C047-BE4A-81D7269DB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4688077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E936FF51-F64E-F743-A756-D2B851BBFB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4064013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5045E3E-81FE-F845-A6E3-34754D6C21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3439949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81A02908-2D03-944A-A233-1C3F57C6AA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2815885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C5317651-A18C-014B-8311-1DABCC5A22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2191821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25F6BF5F-7FC8-6744-BA94-EE081EFFC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1567757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114D02C5-2D7C-1947-8FC7-0171AAE0EF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943693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F2FCDAD2-954C-9A48-B06B-E756025BFC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6538370"/>
              <a:ext cx="609600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ACC09E62-9D19-9841-A3D2-3A0D74D22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72765" y="1565095"/>
            <a:ext cx="5206975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92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55351911-D063-9241-8C39-2E6C385D994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6572765" y="6290514"/>
            <a:ext cx="3609720" cy="268197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F061029-85A2-224A-934E-8F3D9D7EF1C1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49" name="Grafik 2">
              <a:extLst>
                <a:ext uri="{FF2B5EF4-FFF2-40B4-BE49-F238E27FC236}">
                  <a16:creationId xmlns:a16="http://schemas.microsoft.com/office/drawing/2014/main" id="{DE8AB337-E343-2341-88A0-365F77046EA2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5A24B806-0C9D-D94C-90EC-AA9A40F7F929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385A0862-7CB9-034A-A916-38FFE62F0A99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105645C8-FCBF-964C-93BC-1D931844BCAA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A22A3C81-615D-664A-BEE6-B5B957A7B39F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1674108C-396E-8840-8488-555621A0B3C2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977531BA-94B0-4B4F-8544-395D8C5AC810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817D86E5-318C-A54F-9663-89375157E5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 66">
                <a:extLst>
                  <a:ext uri="{FF2B5EF4-FFF2-40B4-BE49-F238E27FC236}">
                    <a16:creationId xmlns:a16="http://schemas.microsoft.com/office/drawing/2014/main" id="{364AA518-EC97-3646-AD1A-6598A15600B1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7B05B68B-C308-0642-A1BA-D6056AC02ABE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0" name="Grafik 2">
              <a:extLst>
                <a:ext uri="{FF2B5EF4-FFF2-40B4-BE49-F238E27FC236}">
                  <a16:creationId xmlns:a16="http://schemas.microsoft.com/office/drawing/2014/main" id="{2A008557-AEC5-5F4F-8736-8A48A1D717C5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51" name="Freihandform 50">
                <a:extLst>
                  <a:ext uri="{FF2B5EF4-FFF2-40B4-BE49-F238E27FC236}">
                    <a16:creationId xmlns:a16="http://schemas.microsoft.com/office/drawing/2014/main" id="{1BBD79E1-90B6-9846-89BA-6173C1D9EAA1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 51">
                <a:extLst>
                  <a:ext uri="{FF2B5EF4-FFF2-40B4-BE49-F238E27FC236}">
                    <a16:creationId xmlns:a16="http://schemas.microsoft.com/office/drawing/2014/main" id="{A56FFDF8-EF6E-F348-9CBF-1AB14A230764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 52">
                <a:extLst>
                  <a:ext uri="{FF2B5EF4-FFF2-40B4-BE49-F238E27FC236}">
                    <a16:creationId xmlns:a16="http://schemas.microsoft.com/office/drawing/2014/main" id="{6AD0184C-3AFD-7D47-9E64-58539A32EEC0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 53">
                <a:extLst>
                  <a:ext uri="{FF2B5EF4-FFF2-40B4-BE49-F238E27FC236}">
                    <a16:creationId xmlns:a16="http://schemas.microsoft.com/office/drawing/2014/main" id="{DA5C2EB6-A07A-D04E-97F3-7603677516A3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 54">
                <a:extLst>
                  <a:ext uri="{FF2B5EF4-FFF2-40B4-BE49-F238E27FC236}">
                    <a16:creationId xmlns:a16="http://schemas.microsoft.com/office/drawing/2014/main" id="{9224855F-552E-464F-80A9-DA8EF8F6EF4B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 55">
                <a:extLst>
                  <a:ext uri="{FF2B5EF4-FFF2-40B4-BE49-F238E27FC236}">
                    <a16:creationId xmlns:a16="http://schemas.microsoft.com/office/drawing/2014/main" id="{E60DBF14-249D-F84C-8199-98F598DB62D4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C98E2ED1-A6B2-9E47-88AE-44F515B8839F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953F9D42-D61E-AB4B-A06F-B75361796836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FEC961A8-D260-D64A-8D4A-EBC7D74593DC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43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 away – Text 3/4 –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16986"/>
            <a:ext cx="8496595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2984F0-33A6-824B-ADDB-63555F28AA3F}"/>
              </a:ext>
            </a:extLst>
          </p:cNvPr>
          <p:cNvGrpSpPr/>
          <p:nvPr userDrawn="1"/>
        </p:nvGrpSpPr>
        <p:grpSpPr>
          <a:xfrm>
            <a:off x="9216320" y="0"/>
            <a:ext cx="2975680" cy="6858000"/>
            <a:chOff x="9216320" y="0"/>
            <a:chExt cx="2975680" cy="6858000"/>
          </a:xfrm>
        </p:grpSpPr>
        <p:cxnSp>
          <p:nvCxnSpPr>
            <p:cNvPr id="109" name="Gerade Verbindung 108">
              <a:extLst>
                <a:ext uri="{FF2B5EF4-FFF2-40B4-BE49-F238E27FC236}">
                  <a16:creationId xmlns:a16="http://schemas.microsoft.com/office/drawing/2014/main" id="{F366B218-3B9D-9744-AB53-3993B97CBF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>
              <a:extLst>
                <a:ext uri="{FF2B5EF4-FFF2-40B4-BE49-F238E27FC236}">
                  <a16:creationId xmlns:a16="http://schemas.microsoft.com/office/drawing/2014/main" id="{D98A11AD-7960-7B41-B866-C1FD65446E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>
              <a:extLst>
                <a:ext uri="{FF2B5EF4-FFF2-40B4-BE49-F238E27FC236}">
                  <a16:creationId xmlns:a16="http://schemas.microsoft.com/office/drawing/2014/main" id="{9DDD5E61-B747-C741-992F-B4E7C1F42D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DB88C81E-9589-1149-9378-9056B4856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>
              <a:extLst>
                <a:ext uri="{FF2B5EF4-FFF2-40B4-BE49-F238E27FC236}">
                  <a16:creationId xmlns:a16="http://schemas.microsoft.com/office/drawing/2014/main" id="{12B60805-357D-5342-8149-FAA969EA23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A8B0ABFC-B113-6344-B847-9D4097663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319630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B654164-0268-1746-857E-9B1F20D493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5936205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>
              <a:extLst>
                <a:ext uri="{FF2B5EF4-FFF2-40B4-BE49-F238E27FC236}">
                  <a16:creationId xmlns:a16="http://schemas.microsoft.com/office/drawing/2014/main" id="{96517CDF-1913-EF48-9AE0-1702B48AA4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5312141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EE8B728F-B5EF-C047-BE4A-81D7269DB2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4688077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E936FF51-F64E-F743-A756-D2B851BBFB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4064013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5045E3E-81FE-F845-A6E3-34754D6C21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3439949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81A02908-2D03-944A-A233-1C3F57C6AA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2815885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C5317651-A18C-014B-8311-1DABCC5A22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2191821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25F6BF5F-7FC8-6744-BA94-EE081EFFC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1567757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114D02C5-2D7C-1947-8FC7-0171AAE0EF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943693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F2FCDAD2-954C-9A48-B06B-E756025BFC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6538370"/>
              <a:ext cx="297568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229AF1FD-079C-2946-BEAA-34023E7A254C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290514"/>
            <a:ext cx="6899365" cy="268197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5FC28716-AF19-0D44-868D-9C110607CBA7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44" name="Grafik 2">
              <a:extLst>
                <a:ext uri="{FF2B5EF4-FFF2-40B4-BE49-F238E27FC236}">
                  <a16:creationId xmlns:a16="http://schemas.microsoft.com/office/drawing/2014/main" id="{62563E33-D307-7749-A222-A88C17B8C4E1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56" name="Freihandform 55">
                <a:extLst>
                  <a:ext uri="{FF2B5EF4-FFF2-40B4-BE49-F238E27FC236}">
                    <a16:creationId xmlns:a16="http://schemas.microsoft.com/office/drawing/2014/main" id="{A81F26A8-A46C-3B48-BD01-E8D6D44A6AA5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1343DA23-13C8-474C-BE82-9055639EDEEB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AD8E0A5B-6F48-5A41-9CC7-B62E8EB1293D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FE24282E-CFFF-5741-B8C6-559651BF2C6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57404952-A57D-144A-9C1F-737FA4062DE3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F784041A-8E91-8B45-953B-07B6EC9F48AC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AE24FF30-2564-4841-9180-9754F31230A0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D758F6B5-FE79-3D41-8F23-88D6D4D83753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8A9A870E-7472-7140-89DB-B70C0F91895F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">
              <a:extLst>
                <a:ext uri="{FF2B5EF4-FFF2-40B4-BE49-F238E27FC236}">
                  <a16:creationId xmlns:a16="http://schemas.microsoft.com/office/drawing/2014/main" id="{88B49E0A-D014-E74A-ABF9-B86AC40D67AE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47" name="Freihandform 46">
                <a:extLst>
                  <a:ext uri="{FF2B5EF4-FFF2-40B4-BE49-F238E27FC236}">
                    <a16:creationId xmlns:a16="http://schemas.microsoft.com/office/drawing/2014/main" id="{2E6B5024-B9BE-9D48-9692-35266FBB6286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 47">
                <a:extLst>
                  <a:ext uri="{FF2B5EF4-FFF2-40B4-BE49-F238E27FC236}">
                    <a16:creationId xmlns:a16="http://schemas.microsoft.com/office/drawing/2014/main" id="{26B8224D-FE3E-5E4C-9D9D-DE4A3DD66E3C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 48">
                <a:extLst>
                  <a:ext uri="{FF2B5EF4-FFF2-40B4-BE49-F238E27FC236}">
                    <a16:creationId xmlns:a16="http://schemas.microsoft.com/office/drawing/2014/main" id="{99830917-A241-A14B-8A54-1EE29F57584D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 49">
                <a:extLst>
                  <a:ext uri="{FF2B5EF4-FFF2-40B4-BE49-F238E27FC236}">
                    <a16:creationId xmlns:a16="http://schemas.microsoft.com/office/drawing/2014/main" id="{F8E7E847-3BFB-B447-B663-D539A3899E94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 50">
                <a:extLst>
                  <a:ext uri="{FF2B5EF4-FFF2-40B4-BE49-F238E27FC236}">
                    <a16:creationId xmlns:a16="http://schemas.microsoft.com/office/drawing/2014/main" id="{807E5401-3542-404E-B0BD-05B6934EC6D8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 51">
                <a:extLst>
                  <a:ext uri="{FF2B5EF4-FFF2-40B4-BE49-F238E27FC236}">
                    <a16:creationId xmlns:a16="http://schemas.microsoft.com/office/drawing/2014/main" id="{38B243D1-30BF-6240-896B-65362A1F83F1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 52">
                <a:extLst>
                  <a:ext uri="{FF2B5EF4-FFF2-40B4-BE49-F238E27FC236}">
                    <a16:creationId xmlns:a16="http://schemas.microsoft.com/office/drawing/2014/main" id="{E05B2681-0544-464D-824E-81E74EA3BD02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 53">
                <a:extLst>
                  <a:ext uri="{FF2B5EF4-FFF2-40B4-BE49-F238E27FC236}">
                    <a16:creationId xmlns:a16="http://schemas.microsoft.com/office/drawing/2014/main" id="{62B1D8AE-41E9-5048-B3D7-482F0FB492F9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 54">
                <a:extLst>
                  <a:ext uri="{FF2B5EF4-FFF2-40B4-BE49-F238E27FC236}">
                    <a16:creationId xmlns:a16="http://schemas.microsoft.com/office/drawing/2014/main" id="{F9A745FF-C6E8-C445-8E81-ACB26ECFEE1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A5518949-1D74-3941-AD4A-77BFA5528C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1" y="1565095"/>
            <a:ext cx="8496613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5808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_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5" y="316986"/>
            <a:ext cx="2903849" cy="245352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4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DF3AF187-569B-CC49-9274-0A48022B8A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57590" y="1565095"/>
            <a:ext cx="4591457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45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7DAF303-9BFF-314E-9E58-91DB5E115CC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42" name="Grafik 2">
              <a:extLst>
                <a:ext uri="{FF2B5EF4-FFF2-40B4-BE49-F238E27FC236}">
                  <a16:creationId xmlns:a16="http://schemas.microsoft.com/office/drawing/2014/main" id="{766566C4-2DEE-AC43-B16F-09779B0DC97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CA893301-52B0-B44C-BE0F-5C13F497CA76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8D46B91D-DE98-4D48-8CC3-8C09FC41EA90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4AE5E9BF-6312-E249-AC06-9E3D93233592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20B2DF23-2903-C94D-A166-6AE8B2359DE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7263A87C-AAFB-CF47-9F31-D55024DFE1F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9E05EA4F-10BF-3F48-B915-4E8660BB42FB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5561C5F0-64F4-EC41-8121-4C990BF061B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9AFA2FF-6B6F-654C-A3F7-E0E3E4D954F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361FD4A6-3925-8C4B-A697-8F6782DF9C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3" name="Grafik 2">
              <a:extLst>
                <a:ext uri="{FF2B5EF4-FFF2-40B4-BE49-F238E27FC236}">
                  <a16:creationId xmlns:a16="http://schemas.microsoft.com/office/drawing/2014/main" id="{ADBB0513-DA70-C845-A5B7-C336F6763BD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974BC705-85E8-9549-A0C8-473F8D64763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20CC9539-5A58-174F-8FC4-6F9CD8CC8F78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6A32991-5293-2443-A158-007D4DCF9107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E4E44EF0-D4AC-D748-8B10-B8FA8DC6D8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EA3B2B3E-5223-E34C-BE1D-1EA7DA3EE70C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8B72CE9-39D8-0F41-BA1A-E2B185B74C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9FDC3B83-8E59-0942-A3C7-78874AF89CD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9E6E2AC9-9011-F145-86E9-78EC1F24980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B2329160-C0F9-2B46-A2A5-693189972AF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6FDA3215-2398-3A4B-AC9C-EB60FB184E64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7106056" y="1565095"/>
            <a:ext cx="4591457" cy="420868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45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E521F6BD-BF8B-0743-857C-9577FC6F12A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936456"/>
            <a:ext cx="0" cy="92154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830AD8E6-F7B3-6041-8B2F-39DC42F84DFA}"/>
              </a:ext>
            </a:extLst>
          </p:cNvPr>
          <p:cNvCxnSpPr>
            <a:cxnSpLocks/>
          </p:cNvCxnSpPr>
          <p:nvPr userDrawn="1"/>
        </p:nvCxnSpPr>
        <p:spPr>
          <a:xfrm>
            <a:off x="6720064" y="5936456"/>
            <a:ext cx="0" cy="92154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C31444D1-A780-6142-BE95-8B4DD6DD8B58}"/>
              </a:ext>
            </a:extLst>
          </p:cNvPr>
          <p:cNvCxnSpPr>
            <a:cxnSpLocks/>
          </p:cNvCxnSpPr>
          <p:nvPr userDrawn="1"/>
        </p:nvCxnSpPr>
        <p:spPr>
          <a:xfrm>
            <a:off x="7344128" y="5929313"/>
            <a:ext cx="0" cy="92868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C9A326B2-B1A5-DC4F-82A3-66DFAE4D1405}"/>
              </a:ext>
            </a:extLst>
          </p:cNvPr>
          <p:cNvCxnSpPr>
            <a:cxnSpLocks/>
          </p:cNvCxnSpPr>
          <p:nvPr userDrawn="1"/>
        </p:nvCxnSpPr>
        <p:spPr>
          <a:xfrm>
            <a:off x="7968192" y="5929313"/>
            <a:ext cx="0" cy="92868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B3A81430-0CD6-2D46-926C-DA9815FF959A}"/>
              </a:ext>
            </a:extLst>
          </p:cNvPr>
          <p:cNvCxnSpPr>
            <a:cxnSpLocks/>
          </p:cNvCxnSpPr>
          <p:nvPr userDrawn="1"/>
        </p:nvCxnSpPr>
        <p:spPr>
          <a:xfrm>
            <a:off x="8592256" y="5936456"/>
            <a:ext cx="0" cy="92154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5C3E2767-898C-1248-B0CD-BA3539FD569F}"/>
              </a:ext>
            </a:extLst>
          </p:cNvPr>
          <p:cNvCxnSpPr>
            <a:cxnSpLocks/>
          </p:cNvCxnSpPr>
          <p:nvPr userDrawn="1"/>
        </p:nvCxnSpPr>
        <p:spPr>
          <a:xfrm>
            <a:off x="9216320" y="5936456"/>
            <a:ext cx="0" cy="92154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DC31356D-A400-524E-B3BC-0942C2F18E49}"/>
              </a:ext>
            </a:extLst>
          </p:cNvPr>
          <p:cNvCxnSpPr>
            <a:cxnSpLocks/>
          </p:cNvCxnSpPr>
          <p:nvPr userDrawn="1"/>
        </p:nvCxnSpPr>
        <p:spPr>
          <a:xfrm>
            <a:off x="9840384" y="5936456"/>
            <a:ext cx="0" cy="92154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FAE79CCC-49F7-3341-AE25-A1E6A31775C6}"/>
              </a:ext>
            </a:extLst>
          </p:cNvPr>
          <p:cNvCxnSpPr>
            <a:cxnSpLocks/>
          </p:cNvCxnSpPr>
          <p:nvPr userDrawn="1"/>
        </p:nvCxnSpPr>
        <p:spPr>
          <a:xfrm>
            <a:off x="10464448" y="5936456"/>
            <a:ext cx="0" cy="92154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>
            <a:extLst>
              <a:ext uri="{FF2B5EF4-FFF2-40B4-BE49-F238E27FC236}">
                <a16:creationId xmlns:a16="http://schemas.microsoft.com/office/drawing/2014/main" id="{35112487-D5AD-3C44-BFC1-A29E0740F20A}"/>
              </a:ext>
            </a:extLst>
          </p:cNvPr>
          <p:cNvCxnSpPr>
            <a:cxnSpLocks/>
          </p:cNvCxnSpPr>
          <p:nvPr userDrawn="1"/>
        </p:nvCxnSpPr>
        <p:spPr>
          <a:xfrm>
            <a:off x="11088512" y="5929313"/>
            <a:ext cx="0" cy="92868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>
            <a:extLst>
              <a:ext uri="{FF2B5EF4-FFF2-40B4-BE49-F238E27FC236}">
                <a16:creationId xmlns:a16="http://schemas.microsoft.com/office/drawing/2014/main" id="{D7315AE2-6A33-1C42-930A-218DB7BC1CB2}"/>
              </a:ext>
            </a:extLst>
          </p:cNvPr>
          <p:cNvCxnSpPr>
            <a:cxnSpLocks/>
          </p:cNvCxnSpPr>
          <p:nvPr userDrawn="1"/>
        </p:nvCxnSpPr>
        <p:spPr>
          <a:xfrm>
            <a:off x="11712575" y="5929313"/>
            <a:ext cx="0" cy="92868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4E501A5B-4F07-A049-A1C5-DF51165FCA1F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936205"/>
            <a:ext cx="6096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0AFCD3E1-03F2-124F-A8D1-3B0EEF23A98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6538370"/>
            <a:ext cx="6096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873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erspaltig mit Ico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3" y="333884"/>
            <a:ext cx="10388873" cy="365125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56" y="333884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6" name="Bildplatzhalter 34">
            <a:extLst>
              <a:ext uri="{FF2B5EF4-FFF2-40B4-BE49-F238E27FC236}">
                <a16:creationId xmlns:a16="http://schemas.microsoft.com/office/drawing/2014/main" id="{7472C51C-3F1C-3146-A9EA-9D0AEE8D8C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2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7E0000EB-1BBA-624C-A5CE-232E8290277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79424" y="1786933"/>
            <a:ext cx="11233144" cy="236088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4" name="Bildplatzhalter 34">
            <a:extLst>
              <a:ext uri="{FF2B5EF4-FFF2-40B4-BE49-F238E27FC236}">
                <a16:creationId xmlns:a16="http://schemas.microsoft.com/office/drawing/2014/main" id="{5D270070-4A50-F54C-B5A6-27AB20279208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414072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95" name="Bildplatzhalter 34">
            <a:extLst>
              <a:ext uri="{FF2B5EF4-FFF2-40B4-BE49-F238E27FC236}">
                <a16:creationId xmlns:a16="http://schemas.microsoft.com/office/drawing/2014/main" id="{B03C611E-D7FE-FD42-A97C-8C761195C4D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338445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96" name="Bildplatzhalter 34">
            <a:extLst>
              <a:ext uri="{FF2B5EF4-FFF2-40B4-BE49-F238E27FC236}">
                <a16:creationId xmlns:a16="http://schemas.microsoft.com/office/drawing/2014/main" id="{04B659BB-B75B-7540-8D74-B0BCC1396A85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262818" y="2661964"/>
            <a:ext cx="546738" cy="493442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FDA1A50A-8F5B-B44A-A10D-8E4296C786F6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747F7966-AD09-EB48-B9CC-B570C0276203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489700" y="3411056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4E3E936A-895F-C34F-8C7D-B396234A1945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3414072" y="3406967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CD8233A4-1FE4-7741-9520-AEBE5BA384DB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6338444" y="3406967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773D5E0-891F-4F44-B9E5-F5CCCFD9FE7C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9262816" y="3406967"/>
            <a:ext cx="2439482" cy="2386801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3E7A2B0E-DFE5-1246-80D0-FCD1966FF2BA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336000"/>
            <a:ext cx="9631767" cy="222711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6" name="Gruppieren 3">
            <a:extLst>
              <a:ext uri="{FF2B5EF4-FFF2-40B4-BE49-F238E27FC236}">
                <a16:creationId xmlns:a16="http://schemas.microsoft.com/office/drawing/2014/main" id="{7C310EB4-53E8-4B4F-A11D-461CA3305C4D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37" name="Grafik 2">
              <a:extLst>
                <a:ext uri="{FF2B5EF4-FFF2-40B4-BE49-F238E27FC236}">
                  <a16:creationId xmlns:a16="http://schemas.microsoft.com/office/drawing/2014/main" id="{BBF015EC-48D4-7341-8D35-90EDD0CBA96D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4"/>
            </a:solidFill>
          </p:grpSpPr>
          <p:sp>
            <p:nvSpPr>
              <p:cNvPr id="49" name="Freihandform 152">
                <a:extLst>
                  <a:ext uri="{FF2B5EF4-FFF2-40B4-BE49-F238E27FC236}">
                    <a16:creationId xmlns:a16="http://schemas.microsoft.com/office/drawing/2014/main" id="{F6E01570-5B99-EB4A-94EA-75D7450C4FD4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 153">
                <a:extLst>
                  <a:ext uri="{FF2B5EF4-FFF2-40B4-BE49-F238E27FC236}">
                    <a16:creationId xmlns:a16="http://schemas.microsoft.com/office/drawing/2014/main" id="{25A4B384-287D-8347-8D75-6D56B1CD753F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 154">
                <a:extLst>
                  <a:ext uri="{FF2B5EF4-FFF2-40B4-BE49-F238E27FC236}">
                    <a16:creationId xmlns:a16="http://schemas.microsoft.com/office/drawing/2014/main" id="{066EAE23-E19F-054D-8321-80A9E0D43DE4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 155">
                <a:extLst>
                  <a:ext uri="{FF2B5EF4-FFF2-40B4-BE49-F238E27FC236}">
                    <a16:creationId xmlns:a16="http://schemas.microsoft.com/office/drawing/2014/main" id="{5798CEB1-A4BF-FF47-B437-3CFB8E7F0C82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 156">
                <a:extLst>
                  <a:ext uri="{FF2B5EF4-FFF2-40B4-BE49-F238E27FC236}">
                    <a16:creationId xmlns:a16="http://schemas.microsoft.com/office/drawing/2014/main" id="{D55D5B91-9955-F345-990B-5BCC1FC2B336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 157">
                <a:extLst>
                  <a:ext uri="{FF2B5EF4-FFF2-40B4-BE49-F238E27FC236}">
                    <a16:creationId xmlns:a16="http://schemas.microsoft.com/office/drawing/2014/main" id="{224E6F95-C005-3145-B015-9B5CE64BADDD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 158">
                <a:extLst>
                  <a:ext uri="{FF2B5EF4-FFF2-40B4-BE49-F238E27FC236}">
                    <a16:creationId xmlns:a16="http://schemas.microsoft.com/office/drawing/2014/main" id="{3E3DDC7C-91E2-D64D-B236-AB3D69E4F705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 159">
                <a:extLst>
                  <a:ext uri="{FF2B5EF4-FFF2-40B4-BE49-F238E27FC236}">
                    <a16:creationId xmlns:a16="http://schemas.microsoft.com/office/drawing/2014/main" id="{8B8118C7-5CE5-1F4E-A45A-6B2BF3D12181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160">
                <a:extLst>
                  <a:ext uri="{FF2B5EF4-FFF2-40B4-BE49-F238E27FC236}">
                    <a16:creationId xmlns:a16="http://schemas.microsoft.com/office/drawing/2014/main" id="{371C76EB-B950-4F45-AF9E-ED4CF620F1D6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" name="Grafik 2">
              <a:extLst>
                <a:ext uri="{FF2B5EF4-FFF2-40B4-BE49-F238E27FC236}">
                  <a16:creationId xmlns:a16="http://schemas.microsoft.com/office/drawing/2014/main" id="{BF037E50-D93E-D946-B1AD-3B5CC2BBFA4B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bg1"/>
            </a:solidFill>
          </p:grpSpPr>
          <p:sp>
            <p:nvSpPr>
              <p:cNvPr id="39" name="Freihandform 143">
                <a:extLst>
                  <a:ext uri="{FF2B5EF4-FFF2-40B4-BE49-F238E27FC236}">
                    <a16:creationId xmlns:a16="http://schemas.microsoft.com/office/drawing/2014/main" id="{CFF3DC3F-5B70-9D41-825B-99169E147714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 144">
                <a:extLst>
                  <a:ext uri="{FF2B5EF4-FFF2-40B4-BE49-F238E27FC236}">
                    <a16:creationId xmlns:a16="http://schemas.microsoft.com/office/drawing/2014/main" id="{ED0ADF15-1A57-BB4A-9B19-DF9FFD1DB004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 145">
                <a:extLst>
                  <a:ext uri="{FF2B5EF4-FFF2-40B4-BE49-F238E27FC236}">
                    <a16:creationId xmlns:a16="http://schemas.microsoft.com/office/drawing/2014/main" id="{E670743D-2B17-7E4F-9128-FC1161A0A901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 146">
                <a:extLst>
                  <a:ext uri="{FF2B5EF4-FFF2-40B4-BE49-F238E27FC236}">
                    <a16:creationId xmlns:a16="http://schemas.microsoft.com/office/drawing/2014/main" id="{417EE952-C53F-214B-90A4-02F158A7F673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 147">
                <a:extLst>
                  <a:ext uri="{FF2B5EF4-FFF2-40B4-BE49-F238E27FC236}">
                    <a16:creationId xmlns:a16="http://schemas.microsoft.com/office/drawing/2014/main" id="{2BF5713D-C77C-224A-BA4F-7E059F61D2D4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 148">
                <a:extLst>
                  <a:ext uri="{FF2B5EF4-FFF2-40B4-BE49-F238E27FC236}">
                    <a16:creationId xmlns:a16="http://schemas.microsoft.com/office/drawing/2014/main" id="{A27DB98D-9FFA-1F4E-BE2F-993DE12C21D8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 149">
                <a:extLst>
                  <a:ext uri="{FF2B5EF4-FFF2-40B4-BE49-F238E27FC236}">
                    <a16:creationId xmlns:a16="http://schemas.microsoft.com/office/drawing/2014/main" id="{64ACA475-8C43-4740-85B7-743963BEB0FB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 150">
                <a:extLst>
                  <a:ext uri="{FF2B5EF4-FFF2-40B4-BE49-F238E27FC236}">
                    <a16:creationId xmlns:a16="http://schemas.microsoft.com/office/drawing/2014/main" id="{603EF851-3CA4-8C4D-98C1-2181FC0D7D02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 151">
                <a:extLst>
                  <a:ext uri="{FF2B5EF4-FFF2-40B4-BE49-F238E27FC236}">
                    <a16:creationId xmlns:a16="http://schemas.microsoft.com/office/drawing/2014/main" id="{321841C6-93A4-6548-9A74-C7A86080F2E4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198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44">
            <a:extLst>
              <a:ext uri="{FF2B5EF4-FFF2-40B4-BE49-F238E27FC236}">
                <a16:creationId xmlns:a16="http://schemas.microsoft.com/office/drawing/2014/main" id="{19E81368-512D-FD49-A993-729A16C8BB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88510" y="316986"/>
            <a:ext cx="624058" cy="365125"/>
          </a:xfrm>
        </p:spPr>
        <p:txBody>
          <a:bodyPr lIns="90000" tIns="0" rIns="0" bIns="0" anchor="t">
            <a:noAutofit/>
          </a:bodyPr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63F3ABA-4535-9F4B-BA8E-B35B62AED6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24569"/>
            <a:ext cx="10380165" cy="357541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867C888A-82D3-1F47-80C9-EE2DFEA5A9BA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23DF6191-F8BC-6841-8E8E-C58496E4343C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53" name="Grafik 2">
              <a:extLst>
                <a:ext uri="{FF2B5EF4-FFF2-40B4-BE49-F238E27FC236}">
                  <a16:creationId xmlns:a16="http://schemas.microsoft.com/office/drawing/2014/main" id="{E0F255E3-06DB-2A4F-870B-89601FA463B1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91997565-785C-0843-A5D5-58CCC6B9955F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54887822-352A-B149-A3D2-F85814D6F182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EB8D6410-B228-4B46-879F-51CE1A3184F6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 66">
                <a:extLst>
                  <a:ext uri="{FF2B5EF4-FFF2-40B4-BE49-F238E27FC236}">
                    <a16:creationId xmlns:a16="http://schemas.microsoft.com/office/drawing/2014/main" id="{EF893121-57F6-974D-9F4C-F25A505D39EE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8230C479-CAF3-DE4E-A962-173633530343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 68">
                <a:extLst>
                  <a:ext uri="{FF2B5EF4-FFF2-40B4-BE49-F238E27FC236}">
                    <a16:creationId xmlns:a16="http://schemas.microsoft.com/office/drawing/2014/main" id="{254999F2-BEF2-714A-A99D-1CDBB9CAD6CD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 69">
                <a:extLst>
                  <a:ext uri="{FF2B5EF4-FFF2-40B4-BE49-F238E27FC236}">
                    <a16:creationId xmlns:a16="http://schemas.microsoft.com/office/drawing/2014/main" id="{D4A2FE43-1E90-E241-9950-380254A50B4B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 70">
                <a:extLst>
                  <a:ext uri="{FF2B5EF4-FFF2-40B4-BE49-F238E27FC236}">
                    <a16:creationId xmlns:a16="http://schemas.microsoft.com/office/drawing/2014/main" id="{C58C7D81-1747-804A-A7CE-58336AE0D104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 71">
                <a:extLst>
                  <a:ext uri="{FF2B5EF4-FFF2-40B4-BE49-F238E27FC236}">
                    <a16:creationId xmlns:a16="http://schemas.microsoft.com/office/drawing/2014/main" id="{500EED96-413F-5540-A333-AF3EC15A9FFF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" name="Grafik 2">
              <a:extLst>
                <a:ext uri="{FF2B5EF4-FFF2-40B4-BE49-F238E27FC236}">
                  <a16:creationId xmlns:a16="http://schemas.microsoft.com/office/drawing/2014/main" id="{1034D86E-0640-454C-B678-07905FA67971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55" name="Freihandform 54">
                <a:extLst>
                  <a:ext uri="{FF2B5EF4-FFF2-40B4-BE49-F238E27FC236}">
                    <a16:creationId xmlns:a16="http://schemas.microsoft.com/office/drawing/2014/main" id="{A0BF3F90-1502-9E46-A2FC-6392C261D0F5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 55">
                <a:extLst>
                  <a:ext uri="{FF2B5EF4-FFF2-40B4-BE49-F238E27FC236}">
                    <a16:creationId xmlns:a16="http://schemas.microsoft.com/office/drawing/2014/main" id="{87CCB4AA-1088-5641-AAC7-7B47F4B35E2A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AFF4FA85-A243-924D-9119-CF433E99A528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AC62E396-4F33-4046-84EE-F2D0288F99FB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B5CECBBF-7781-E344-A675-6939DA80D904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005C1E3C-A55B-0444-B173-1BB1B611B2C1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7A0B6D7E-22ED-254C-B2AD-453004DBE5A3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C5DF5378-CA31-BE43-AA68-9CC2AD2D9A73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C493A2A2-FC28-C846-B4D5-B43814A9038C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1852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pos="737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großem Bi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2176259-4110-7649-B836-3074F7C17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E7E484-1151-7A4E-B103-2CC5D1154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760610" y="2997660"/>
            <a:ext cx="4368448" cy="26051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PP Telegraf" pitchFamily="2" charset="77"/>
              </a:defRPr>
            </a:lvl1pPr>
          </a:lstStyle>
          <a:p>
            <a:endParaRPr lang="de-DE"/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181FB01B-C0D8-7A4F-A79F-3404C453C8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633083"/>
            <a:ext cx="5250816" cy="1342547"/>
          </a:xfrm>
        </p:spPr>
        <p:txBody>
          <a:bodyPr lIns="0" tIns="0" rIns="90000" anchor="t">
            <a:noAutofit/>
          </a:bodyPr>
          <a:lstStyle>
            <a:lvl1pPr algn="l">
              <a:lnSpc>
                <a:spcPct val="80000"/>
              </a:lnSpc>
              <a:defRPr sz="5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2" name="Untertitel 2">
            <a:extLst>
              <a:ext uri="{FF2B5EF4-FFF2-40B4-BE49-F238E27FC236}">
                <a16:creationId xmlns:a16="http://schemas.microsoft.com/office/drawing/2014/main" id="{098D6F3C-54B4-1348-920D-1DCA2EF64C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3394908"/>
            <a:ext cx="5256214" cy="365125"/>
          </a:xfrm>
        </p:spPr>
        <p:txBody>
          <a:bodyPr lIns="0" tIns="0">
            <a:noAutofit/>
          </a:bodyPr>
          <a:lstStyle>
            <a:lvl1pPr marL="0" indent="0" algn="l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B987E8B-A261-8644-B70C-4C5AB8EFCD45}"/>
              </a:ext>
            </a:extLst>
          </p:cNvPr>
          <p:cNvGrpSpPr/>
          <p:nvPr userDrawn="1"/>
        </p:nvGrpSpPr>
        <p:grpSpPr>
          <a:xfrm>
            <a:off x="479422" y="6290517"/>
            <a:ext cx="1152000" cy="234528"/>
            <a:chOff x="479422" y="6290517"/>
            <a:chExt cx="1152000" cy="234528"/>
          </a:xfrm>
        </p:grpSpPr>
        <p:grpSp>
          <p:nvGrpSpPr>
            <p:cNvPr id="55" name="Grafik 2">
              <a:extLst>
                <a:ext uri="{FF2B5EF4-FFF2-40B4-BE49-F238E27FC236}">
                  <a16:creationId xmlns:a16="http://schemas.microsoft.com/office/drawing/2014/main" id="{CE6C4255-732C-8F41-8337-B88DEE9740E0}"/>
                </a:ext>
              </a:extLst>
            </p:cNvPr>
            <p:cNvGrpSpPr/>
            <p:nvPr/>
          </p:nvGrpSpPr>
          <p:grpSpPr>
            <a:xfrm>
              <a:off x="484254" y="6290517"/>
              <a:ext cx="1020470" cy="110346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6274012E-6288-5647-B2F9-1045C387F27A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 66">
                <a:extLst>
                  <a:ext uri="{FF2B5EF4-FFF2-40B4-BE49-F238E27FC236}">
                    <a16:creationId xmlns:a16="http://schemas.microsoft.com/office/drawing/2014/main" id="{4A51BF93-A048-7542-AE54-62258A8B411A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E1D4A051-4455-3442-BC5C-75A6912B7558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 68">
                <a:extLst>
                  <a:ext uri="{FF2B5EF4-FFF2-40B4-BE49-F238E27FC236}">
                    <a16:creationId xmlns:a16="http://schemas.microsoft.com/office/drawing/2014/main" id="{82A877A1-D3CB-1A4D-8B38-D8A180C280F7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 69">
                <a:extLst>
                  <a:ext uri="{FF2B5EF4-FFF2-40B4-BE49-F238E27FC236}">
                    <a16:creationId xmlns:a16="http://schemas.microsoft.com/office/drawing/2014/main" id="{A62A1389-1730-634E-B583-774D10CCE9A4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 70">
                <a:extLst>
                  <a:ext uri="{FF2B5EF4-FFF2-40B4-BE49-F238E27FC236}">
                    <a16:creationId xmlns:a16="http://schemas.microsoft.com/office/drawing/2014/main" id="{DD8E274E-6BE8-2247-96A9-D1BFD463B2CC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 71">
                <a:extLst>
                  <a:ext uri="{FF2B5EF4-FFF2-40B4-BE49-F238E27FC236}">
                    <a16:creationId xmlns:a16="http://schemas.microsoft.com/office/drawing/2014/main" id="{317475DF-6630-2A48-B6CD-220684475059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 72">
                <a:extLst>
                  <a:ext uri="{FF2B5EF4-FFF2-40B4-BE49-F238E27FC236}">
                    <a16:creationId xmlns:a16="http://schemas.microsoft.com/office/drawing/2014/main" id="{05FF8D32-5DEC-6845-BD14-93F6D5BAAD0A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 73">
                <a:extLst>
                  <a:ext uri="{FF2B5EF4-FFF2-40B4-BE49-F238E27FC236}">
                    <a16:creationId xmlns:a16="http://schemas.microsoft.com/office/drawing/2014/main" id="{29799B24-CED0-574D-9B06-6D29B7178CAE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6" name="Grafik 2">
              <a:extLst>
                <a:ext uri="{FF2B5EF4-FFF2-40B4-BE49-F238E27FC236}">
                  <a16:creationId xmlns:a16="http://schemas.microsoft.com/office/drawing/2014/main" id="{7FE14818-3E0E-D643-9C92-51A3ADA2ABB5}"/>
                </a:ext>
              </a:extLst>
            </p:cNvPr>
            <p:cNvGrpSpPr/>
            <p:nvPr/>
          </p:nvGrpSpPr>
          <p:grpSpPr>
            <a:xfrm>
              <a:off x="479422" y="6305046"/>
              <a:ext cx="1152000" cy="219999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DC6C4DF5-EF91-5648-9876-5A6552A7D41A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B740D2A4-4855-B142-8662-07D97A9FF96A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427BC9BD-E6B7-024B-9981-84C28B0F1C94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15C9B543-39AC-A740-AB28-52A51ADB16D5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1274C797-9BAC-CC44-B658-81EDB0B29D1F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695AF9E7-84B0-5240-9467-D3CF6EB3B57D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92162C7E-223F-7A42-95DC-23CFA74B426D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BB3F21B0-62EC-324C-96D4-1C068D5045EA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DDAE4EE4-F078-E049-AE55-E7F0DE56F0A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6820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4">
            <a:extLst>
              <a:ext uri="{FF2B5EF4-FFF2-40B4-BE49-F238E27FC236}">
                <a16:creationId xmlns:a16="http://schemas.microsoft.com/office/drawing/2014/main" id="{0570C14A-3281-B549-A555-13F4A5C0A8E7}"/>
              </a:ext>
            </a:extLst>
          </p:cNvPr>
          <p:cNvSpPr txBox="1">
            <a:spLocks/>
          </p:cNvSpPr>
          <p:nvPr userDrawn="1"/>
        </p:nvSpPr>
        <p:spPr>
          <a:xfrm>
            <a:off x="11088510" y="316986"/>
            <a:ext cx="624058" cy="365125"/>
          </a:xfrm>
          <a:prstGeom prst="rect">
            <a:avLst/>
          </a:prstGeom>
        </p:spPr>
        <p:txBody>
          <a:bodyPr vert="horz" lIns="90000" tIns="0" rIns="0" bIns="0" rtlCol="0" anchor="t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PP Telegraf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7F756D9C-C98B-D54A-B84A-70BCA6CB3274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49" name="Grafik 2">
              <a:extLst>
                <a:ext uri="{FF2B5EF4-FFF2-40B4-BE49-F238E27FC236}">
                  <a16:creationId xmlns:a16="http://schemas.microsoft.com/office/drawing/2014/main" id="{2B53263F-7A8C-DF43-984D-95F81E385FDA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60" name="Freihandform 59">
                <a:extLst>
                  <a:ext uri="{FF2B5EF4-FFF2-40B4-BE49-F238E27FC236}">
                    <a16:creationId xmlns:a16="http://schemas.microsoft.com/office/drawing/2014/main" id="{4586841C-960B-FE4A-BEC7-81DE9FFDD3ED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 60">
                <a:extLst>
                  <a:ext uri="{FF2B5EF4-FFF2-40B4-BE49-F238E27FC236}">
                    <a16:creationId xmlns:a16="http://schemas.microsoft.com/office/drawing/2014/main" id="{BFB4B279-25BA-AD46-8C8F-9BD8C34658AC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 61">
                <a:extLst>
                  <a:ext uri="{FF2B5EF4-FFF2-40B4-BE49-F238E27FC236}">
                    <a16:creationId xmlns:a16="http://schemas.microsoft.com/office/drawing/2014/main" id="{E14350D1-1170-8E4B-8335-0A7119FC0DC0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 62">
                <a:extLst>
                  <a:ext uri="{FF2B5EF4-FFF2-40B4-BE49-F238E27FC236}">
                    <a16:creationId xmlns:a16="http://schemas.microsoft.com/office/drawing/2014/main" id="{5A34DC9F-E43E-F54F-825B-96C05F805B12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 63">
                <a:extLst>
                  <a:ext uri="{FF2B5EF4-FFF2-40B4-BE49-F238E27FC236}">
                    <a16:creationId xmlns:a16="http://schemas.microsoft.com/office/drawing/2014/main" id="{762C68B1-F856-D340-B752-DB8C7A45E83D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 64">
                <a:extLst>
                  <a:ext uri="{FF2B5EF4-FFF2-40B4-BE49-F238E27FC236}">
                    <a16:creationId xmlns:a16="http://schemas.microsoft.com/office/drawing/2014/main" id="{4DB9FDC6-B9DB-2043-BFD8-67369E87973F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31B8B8BB-439B-A740-BD9F-1E66F055D522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 66">
                <a:extLst>
                  <a:ext uri="{FF2B5EF4-FFF2-40B4-BE49-F238E27FC236}">
                    <a16:creationId xmlns:a16="http://schemas.microsoft.com/office/drawing/2014/main" id="{46C6EA49-45DD-6249-8CFF-3303272DD8CF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1B405FEF-E524-5545-BEDA-219CB29DD98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0" name="Grafik 2">
              <a:extLst>
                <a:ext uri="{FF2B5EF4-FFF2-40B4-BE49-F238E27FC236}">
                  <a16:creationId xmlns:a16="http://schemas.microsoft.com/office/drawing/2014/main" id="{57E48587-351E-B646-A98E-956EF6D0AFC7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51" name="Freihandform 50">
                <a:extLst>
                  <a:ext uri="{FF2B5EF4-FFF2-40B4-BE49-F238E27FC236}">
                    <a16:creationId xmlns:a16="http://schemas.microsoft.com/office/drawing/2014/main" id="{FFC8C842-FB3F-214B-A180-9B5EFFB12920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 51">
                <a:extLst>
                  <a:ext uri="{FF2B5EF4-FFF2-40B4-BE49-F238E27FC236}">
                    <a16:creationId xmlns:a16="http://schemas.microsoft.com/office/drawing/2014/main" id="{7995DBC8-5866-C04D-87F0-1593DBFB7BD7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 52">
                <a:extLst>
                  <a:ext uri="{FF2B5EF4-FFF2-40B4-BE49-F238E27FC236}">
                    <a16:creationId xmlns:a16="http://schemas.microsoft.com/office/drawing/2014/main" id="{B6370F4C-2568-6342-8103-75E08DC3C212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 53">
                <a:extLst>
                  <a:ext uri="{FF2B5EF4-FFF2-40B4-BE49-F238E27FC236}">
                    <a16:creationId xmlns:a16="http://schemas.microsoft.com/office/drawing/2014/main" id="{C9B103A4-74C3-2A4D-A705-25B47EC50FCE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 54">
                <a:extLst>
                  <a:ext uri="{FF2B5EF4-FFF2-40B4-BE49-F238E27FC236}">
                    <a16:creationId xmlns:a16="http://schemas.microsoft.com/office/drawing/2014/main" id="{0E6687A2-C540-EB49-A026-99982E5D07EB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 55">
                <a:extLst>
                  <a:ext uri="{FF2B5EF4-FFF2-40B4-BE49-F238E27FC236}">
                    <a16:creationId xmlns:a16="http://schemas.microsoft.com/office/drawing/2014/main" id="{96080ADA-5C54-3C4C-97EE-EA61A8D7F2E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12E1EECE-D64E-EA4E-BBE0-389ABB7FA1C8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669D7CAC-5656-F544-858A-C8DE52E89E6F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 58">
                <a:extLst>
                  <a:ext uri="{FF2B5EF4-FFF2-40B4-BE49-F238E27FC236}">
                    <a16:creationId xmlns:a16="http://schemas.microsoft.com/office/drawing/2014/main" id="{0B4ED443-E925-774C-8618-BD47F0E6E48C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133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–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9AB152FF-E6E5-1546-9B31-83BE40BDFCA5}"/>
              </a:ext>
            </a:extLst>
          </p:cNvPr>
          <p:cNvGrpSpPr/>
          <p:nvPr userDrawn="1"/>
        </p:nvGrpSpPr>
        <p:grpSpPr>
          <a:xfrm rot="10800000">
            <a:off x="0" y="0"/>
            <a:ext cx="6096000" cy="6858000"/>
            <a:chOff x="6096000" y="0"/>
            <a:chExt cx="6096000" cy="6858000"/>
          </a:xfrm>
        </p:grpSpPr>
        <p:cxnSp>
          <p:nvCxnSpPr>
            <p:cNvPr id="93" name="Gerade Verbindung 92">
              <a:extLst>
                <a:ext uri="{FF2B5EF4-FFF2-40B4-BE49-F238E27FC236}">
                  <a16:creationId xmlns:a16="http://schemas.microsoft.com/office/drawing/2014/main" id="{42F596AE-7362-BE4D-8E75-E1317DD4D5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>
              <a:extLst>
                <a:ext uri="{FF2B5EF4-FFF2-40B4-BE49-F238E27FC236}">
                  <a16:creationId xmlns:a16="http://schemas.microsoft.com/office/drawing/2014/main" id="{06F03A52-7A09-9549-8266-253B7E4B6D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>
              <a:extLst>
                <a:ext uri="{FF2B5EF4-FFF2-40B4-BE49-F238E27FC236}">
                  <a16:creationId xmlns:a16="http://schemas.microsoft.com/office/drawing/2014/main" id="{541BA91F-326A-C64C-9A81-50E8159975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>
              <a:extLst>
                <a:ext uri="{FF2B5EF4-FFF2-40B4-BE49-F238E27FC236}">
                  <a16:creationId xmlns:a16="http://schemas.microsoft.com/office/drawing/2014/main" id="{FD99C671-0E37-E54B-9EFF-1A0C2D235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>
              <a:extLst>
                <a:ext uri="{FF2B5EF4-FFF2-40B4-BE49-F238E27FC236}">
                  <a16:creationId xmlns:a16="http://schemas.microsoft.com/office/drawing/2014/main" id="{8E76B30E-2BE9-284F-81C5-0C4CCB50A7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>
              <a:extLst>
                <a:ext uri="{FF2B5EF4-FFF2-40B4-BE49-F238E27FC236}">
                  <a16:creationId xmlns:a16="http://schemas.microsoft.com/office/drawing/2014/main" id="{A3C6C484-F3E4-A741-AE8A-1DA632C8B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>
              <a:extLst>
                <a:ext uri="{FF2B5EF4-FFF2-40B4-BE49-F238E27FC236}">
                  <a16:creationId xmlns:a16="http://schemas.microsoft.com/office/drawing/2014/main" id="{75DC77E9-0F8D-1546-B391-42A838FB08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>
              <a:extLst>
                <a:ext uri="{FF2B5EF4-FFF2-40B4-BE49-F238E27FC236}">
                  <a16:creationId xmlns:a16="http://schemas.microsoft.com/office/drawing/2014/main" id="{0E40ED96-14C8-C64F-9BA7-F5A57F669A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>
              <a:extLst>
                <a:ext uri="{FF2B5EF4-FFF2-40B4-BE49-F238E27FC236}">
                  <a16:creationId xmlns:a16="http://schemas.microsoft.com/office/drawing/2014/main" id="{D89D3CAA-CD24-A74F-961A-548BD06F8F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>
              <a:extLst>
                <a:ext uri="{FF2B5EF4-FFF2-40B4-BE49-F238E27FC236}">
                  <a16:creationId xmlns:a16="http://schemas.microsoft.com/office/drawing/2014/main" id="{F6640A8A-B165-2046-B0C4-394F3E25F0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4B9B51AB-A433-EB4E-BB99-7EA81DA46E2A}"/>
                </a:ext>
              </a:extLst>
            </p:cNvPr>
            <p:cNvGrpSpPr/>
            <p:nvPr userDrawn="1"/>
          </p:nvGrpSpPr>
          <p:grpSpPr>
            <a:xfrm>
              <a:off x="6099284" y="319630"/>
              <a:ext cx="6092716" cy="6218740"/>
              <a:chOff x="6099284" y="0"/>
              <a:chExt cx="6092716" cy="6218740"/>
            </a:xfrm>
          </p:grpSpPr>
          <p:cxnSp>
            <p:nvCxnSpPr>
              <p:cNvPr id="104" name="Gerade Verbindung 103">
                <a:extLst>
                  <a:ext uri="{FF2B5EF4-FFF2-40B4-BE49-F238E27FC236}">
                    <a16:creationId xmlns:a16="http://schemas.microsoft.com/office/drawing/2014/main" id="{F91F69C2-EC28-2749-9F7C-32B044EF8B4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0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104">
                <a:extLst>
                  <a:ext uri="{FF2B5EF4-FFF2-40B4-BE49-F238E27FC236}">
                    <a16:creationId xmlns:a16="http://schemas.microsoft.com/office/drawing/2014/main" id="{D472BF97-0CEC-5242-BC0D-A5B328835F7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5616575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105">
                <a:extLst>
                  <a:ext uri="{FF2B5EF4-FFF2-40B4-BE49-F238E27FC236}">
                    <a16:creationId xmlns:a16="http://schemas.microsoft.com/office/drawing/2014/main" id="{DE7E2BC5-82B4-FC4B-8D8C-86A0E4D9D91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4992511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106">
                <a:extLst>
                  <a:ext uri="{FF2B5EF4-FFF2-40B4-BE49-F238E27FC236}">
                    <a16:creationId xmlns:a16="http://schemas.microsoft.com/office/drawing/2014/main" id="{2A6EDD94-2EFA-D04F-9806-737127684A06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4368447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107">
                <a:extLst>
                  <a:ext uri="{FF2B5EF4-FFF2-40B4-BE49-F238E27FC236}">
                    <a16:creationId xmlns:a16="http://schemas.microsoft.com/office/drawing/2014/main" id="{C4E1F2CB-96D6-0648-A8C0-3F009AE655C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3744383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>
                <a:extLst>
                  <a:ext uri="{FF2B5EF4-FFF2-40B4-BE49-F238E27FC236}">
                    <a16:creationId xmlns:a16="http://schemas.microsoft.com/office/drawing/2014/main" id="{51C9EDF0-0F20-8E44-9281-56A54DADA982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3120319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>
                <a:extLst>
                  <a:ext uri="{FF2B5EF4-FFF2-40B4-BE49-F238E27FC236}">
                    <a16:creationId xmlns:a16="http://schemas.microsoft.com/office/drawing/2014/main" id="{1568C36D-80B6-F54C-B5E2-AFB0EDBBBB9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2496255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110">
                <a:extLst>
                  <a:ext uri="{FF2B5EF4-FFF2-40B4-BE49-F238E27FC236}">
                    <a16:creationId xmlns:a16="http://schemas.microsoft.com/office/drawing/2014/main" id="{C4FEA2F0-CEB9-9548-A9ED-FBB74EF15A0D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1872191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111">
                <a:extLst>
                  <a:ext uri="{FF2B5EF4-FFF2-40B4-BE49-F238E27FC236}">
                    <a16:creationId xmlns:a16="http://schemas.microsoft.com/office/drawing/2014/main" id="{B2FD4816-7C07-7E41-AECA-9DA7A5BA9FD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1248127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112">
                <a:extLst>
                  <a:ext uri="{FF2B5EF4-FFF2-40B4-BE49-F238E27FC236}">
                    <a16:creationId xmlns:a16="http://schemas.microsoft.com/office/drawing/2014/main" id="{95A139E8-EE67-3C43-9C41-E421ECCD54C6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624063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113">
                <a:extLst>
                  <a:ext uri="{FF2B5EF4-FFF2-40B4-BE49-F238E27FC236}">
                    <a16:creationId xmlns:a16="http://schemas.microsoft.com/office/drawing/2014/main" id="{E9789B31-A101-4A40-9667-CF28773C8127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6099284" y="6218740"/>
                <a:ext cx="6092716" cy="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B02FECFF-A76B-6A4F-A336-2DF2ED1E056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61028" y="1556809"/>
            <a:ext cx="5151548" cy="2485305"/>
          </a:xfrm>
        </p:spPr>
        <p:txBody>
          <a:bodyPr lIns="0" tIns="0" anchor="t">
            <a:noAutofit/>
          </a:bodyPr>
          <a:lstStyle>
            <a:lvl1pPr marL="0" indent="0">
              <a:lnSpc>
                <a:spcPct val="80000"/>
              </a:lnSpc>
              <a:buNone/>
              <a:defRPr sz="52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 </a:t>
            </a:r>
            <a:r>
              <a:rPr lang="de-DE" baseline="30000"/>
              <a:t>1</a:t>
            </a:r>
            <a:endParaRPr lang="de-DE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D54ECDA7-12F1-9443-B7E0-83FAC50B8BCC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541653" y="5314089"/>
            <a:ext cx="5170922" cy="807931"/>
          </a:xfrm>
        </p:spPr>
        <p:txBody>
          <a:bodyPr lIns="0" tIns="0" anchor="b">
            <a:noAutofit/>
          </a:bodyPr>
          <a:lstStyle>
            <a:lvl1pPr marL="0" indent="0">
              <a:lnSpc>
                <a:spcPts val="1920"/>
              </a:lnSpc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3E0DB6AA-6884-EB4A-9AAE-6EA3D9D31664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6544934" y="6122020"/>
            <a:ext cx="5167641" cy="436691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6D816029-0BF0-1D4B-9A9D-562C2345B6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26225" y="324569"/>
            <a:ext cx="1152000" cy="234528"/>
            <a:chOff x="479426" y="6303818"/>
            <a:chExt cx="1082098" cy="220297"/>
          </a:xfrm>
        </p:grpSpPr>
        <p:grpSp>
          <p:nvGrpSpPr>
            <p:cNvPr id="87" name="Grafik 2">
              <a:extLst>
                <a:ext uri="{FF2B5EF4-FFF2-40B4-BE49-F238E27FC236}">
                  <a16:creationId xmlns:a16="http://schemas.microsoft.com/office/drawing/2014/main" id="{A5A94D75-1A9D-6549-8A1F-39A482BD214D}"/>
                </a:ext>
              </a:extLst>
            </p:cNvPr>
            <p:cNvGrpSpPr/>
            <p:nvPr/>
          </p:nvGrpSpPr>
          <p:grpSpPr>
            <a:xfrm>
              <a:off x="483965" y="6303818"/>
              <a:ext cx="958549" cy="103650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122" name="Freihandform 121">
                <a:extLst>
                  <a:ext uri="{FF2B5EF4-FFF2-40B4-BE49-F238E27FC236}">
                    <a16:creationId xmlns:a16="http://schemas.microsoft.com/office/drawing/2014/main" id="{34DE12AC-C0C0-6E46-A942-43A65B2CB348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 122">
                <a:extLst>
                  <a:ext uri="{FF2B5EF4-FFF2-40B4-BE49-F238E27FC236}">
                    <a16:creationId xmlns:a16="http://schemas.microsoft.com/office/drawing/2014/main" id="{096183CB-3D0D-E046-97C2-143950221BDA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 123">
                <a:extLst>
                  <a:ext uri="{FF2B5EF4-FFF2-40B4-BE49-F238E27FC236}">
                    <a16:creationId xmlns:a16="http://schemas.microsoft.com/office/drawing/2014/main" id="{ABDD831B-9812-A341-A1C9-3530E46EB1FD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Freihandform 124">
                <a:extLst>
                  <a:ext uri="{FF2B5EF4-FFF2-40B4-BE49-F238E27FC236}">
                    <a16:creationId xmlns:a16="http://schemas.microsoft.com/office/drawing/2014/main" id="{082EE83C-A9C3-F341-B3AB-A0C5FF78E8DD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Freihandform 125">
                <a:extLst>
                  <a:ext uri="{FF2B5EF4-FFF2-40B4-BE49-F238E27FC236}">
                    <a16:creationId xmlns:a16="http://schemas.microsoft.com/office/drawing/2014/main" id="{2B73BE48-1B5C-BA4E-89EC-601787E98812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Freihandform 126">
                <a:extLst>
                  <a:ext uri="{FF2B5EF4-FFF2-40B4-BE49-F238E27FC236}">
                    <a16:creationId xmlns:a16="http://schemas.microsoft.com/office/drawing/2014/main" id="{224DD191-73A4-3B49-80A4-5878294B0B38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 127">
                <a:extLst>
                  <a:ext uri="{FF2B5EF4-FFF2-40B4-BE49-F238E27FC236}">
                    <a16:creationId xmlns:a16="http://schemas.microsoft.com/office/drawing/2014/main" id="{4E62EDF6-059F-844E-A90E-0BFD9400D47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FFE514CC-33E6-4E46-87D7-2A645FA1C181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69868D50-C3E2-F749-81AB-6CC75C34E3F7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2">
              <a:extLst>
                <a:ext uri="{FF2B5EF4-FFF2-40B4-BE49-F238E27FC236}">
                  <a16:creationId xmlns:a16="http://schemas.microsoft.com/office/drawing/2014/main" id="{77017EF5-6E8A-6D4A-AE40-672C931EE5EB}"/>
                </a:ext>
              </a:extLst>
            </p:cNvPr>
            <p:cNvGrpSpPr/>
            <p:nvPr/>
          </p:nvGrpSpPr>
          <p:grpSpPr>
            <a:xfrm>
              <a:off x="479426" y="6317465"/>
              <a:ext cx="1082098" cy="206650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89" name="Freihandform 88">
                <a:extLst>
                  <a:ext uri="{FF2B5EF4-FFF2-40B4-BE49-F238E27FC236}">
                    <a16:creationId xmlns:a16="http://schemas.microsoft.com/office/drawing/2014/main" id="{97ACE0BA-A78D-E445-AFFF-2DFF8C84CBFF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 89">
                <a:extLst>
                  <a:ext uri="{FF2B5EF4-FFF2-40B4-BE49-F238E27FC236}">
                    <a16:creationId xmlns:a16="http://schemas.microsoft.com/office/drawing/2014/main" id="{BB862FAD-795B-8144-8E42-2CEDCA1D7304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 90">
                <a:extLst>
                  <a:ext uri="{FF2B5EF4-FFF2-40B4-BE49-F238E27FC236}">
                    <a16:creationId xmlns:a16="http://schemas.microsoft.com/office/drawing/2014/main" id="{A970CEFD-3169-BC4A-874F-E1B5E38A35D2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 91">
                <a:extLst>
                  <a:ext uri="{FF2B5EF4-FFF2-40B4-BE49-F238E27FC236}">
                    <a16:creationId xmlns:a16="http://schemas.microsoft.com/office/drawing/2014/main" id="{3049891D-DE4F-DA4F-ADCE-9B06EE1598C2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6" name="Freihandform 115">
                <a:extLst>
                  <a:ext uri="{FF2B5EF4-FFF2-40B4-BE49-F238E27FC236}">
                    <a16:creationId xmlns:a16="http://schemas.microsoft.com/office/drawing/2014/main" id="{EF6631E2-7B38-C548-986F-55675E7FDC9F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8" name="Freihandform 117">
                <a:extLst>
                  <a:ext uri="{FF2B5EF4-FFF2-40B4-BE49-F238E27FC236}">
                    <a16:creationId xmlns:a16="http://schemas.microsoft.com/office/drawing/2014/main" id="{C1AC8097-AB6A-E845-845D-CF0DC826A3E2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9" name="Freihandform 118">
                <a:extLst>
                  <a:ext uri="{FF2B5EF4-FFF2-40B4-BE49-F238E27FC236}">
                    <a16:creationId xmlns:a16="http://schemas.microsoft.com/office/drawing/2014/main" id="{8BCCC419-7B91-3540-BC65-63A75E7BCB0B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0" name="Freihandform 119">
                <a:extLst>
                  <a:ext uri="{FF2B5EF4-FFF2-40B4-BE49-F238E27FC236}">
                    <a16:creationId xmlns:a16="http://schemas.microsoft.com/office/drawing/2014/main" id="{A1BA5410-E584-7B48-9C83-6ABC88E68858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 120">
                <a:extLst>
                  <a:ext uri="{FF2B5EF4-FFF2-40B4-BE49-F238E27FC236}">
                    <a16:creationId xmlns:a16="http://schemas.microsoft.com/office/drawing/2014/main" id="{9783484D-7E6D-6E4E-B425-AC0A8732132D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21626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–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9AB152FF-E6E5-1546-9B31-83BE40BDFCA5}"/>
              </a:ext>
            </a:extLst>
          </p:cNvPr>
          <p:cNvGrpSpPr/>
          <p:nvPr userDrawn="1"/>
        </p:nvGrpSpPr>
        <p:grpSpPr>
          <a:xfrm rot="10800000">
            <a:off x="-765284" y="0"/>
            <a:ext cx="6861284" cy="6858000"/>
            <a:chOff x="6096000" y="0"/>
            <a:chExt cx="6861284" cy="6858000"/>
          </a:xfrm>
        </p:grpSpPr>
        <p:cxnSp>
          <p:nvCxnSpPr>
            <p:cNvPr id="93" name="Gerade Verbindung 92">
              <a:extLst>
                <a:ext uri="{FF2B5EF4-FFF2-40B4-BE49-F238E27FC236}">
                  <a16:creationId xmlns:a16="http://schemas.microsoft.com/office/drawing/2014/main" id="{42F596AE-7362-BE4D-8E75-E1317DD4D5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>
              <a:extLst>
                <a:ext uri="{FF2B5EF4-FFF2-40B4-BE49-F238E27FC236}">
                  <a16:creationId xmlns:a16="http://schemas.microsoft.com/office/drawing/2014/main" id="{06F03A52-7A09-9549-8266-253B7E4B6D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>
              <a:extLst>
                <a:ext uri="{FF2B5EF4-FFF2-40B4-BE49-F238E27FC236}">
                  <a16:creationId xmlns:a16="http://schemas.microsoft.com/office/drawing/2014/main" id="{541BA91F-326A-C64C-9A81-50E8159975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>
              <a:extLst>
                <a:ext uri="{FF2B5EF4-FFF2-40B4-BE49-F238E27FC236}">
                  <a16:creationId xmlns:a16="http://schemas.microsoft.com/office/drawing/2014/main" id="{FD99C671-0E37-E54B-9EFF-1A0C2D235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>
              <a:extLst>
                <a:ext uri="{FF2B5EF4-FFF2-40B4-BE49-F238E27FC236}">
                  <a16:creationId xmlns:a16="http://schemas.microsoft.com/office/drawing/2014/main" id="{8E76B30E-2BE9-284F-81C5-0C4CCB50A7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>
              <a:extLst>
                <a:ext uri="{FF2B5EF4-FFF2-40B4-BE49-F238E27FC236}">
                  <a16:creationId xmlns:a16="http://schemas.microsoft.com/office/drawing/2014/main" id="{A3C6C484-F3E4-A741-AE8A-1DA632C8B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>
              <a:extLst>
                <a:ext uri="{FF2B5EF4-FFF2-40B4-BE49-F238E27FC236}">
                  <a16:creationId xmlns:a16="http://schemas.microsoft.com/office/drawing/2014/main" id="{75DC77E9-0F8D-1546-B391-42A838FB08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>
              <a:extLst>
                <a:ext uri="{FF2B5EF4-FFF2-40B4-BE49-F238E27FC236}">
                  <a16:creationId xmlns:a16="http://schemas.microsoft.com/office/drawing/2014/main" id="{0E40ED96-14C8-C64F-9BA7-F5A57F669A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>
              <a:extLst>
                <a:ext uri="{FF2B5EF4-FFF2-40B4-BE49-F238E27FC236}">
                  <a16:creationId xmlns:a16="http://schemas.microsoft.com/office/drawing/2014/main" id="{D89D3CAA-CD24-A74F-961A-548BD06F8F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>
              <a:extLst>
                <a:ext uri="{FF2B5EF4-FFF2-40B4-BE49-F238E27FC236}">
                  <a16:creationId xmlns:a16="http://schemas.microsoft.com/office/drawing/2014/main" id="{F6640A8A-B165-2046-B0C4-394F3E25F0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4B9B51AB-A433-EB4E-BB99-7EA81DA46E2A}"/>
                </a:ext>
              </a:extLst>
            </p:cNvPr>
            <p:cNvGrpSpPr/>
            <p:nvPr userDrawn="1"/>
          </p:nvGrpSpPr>
          <p:grpSpPr>
            <a:xfrm>
              <a:off x="6099284" y="319630"/>
              <a:ext cx="6858000" cy="6218740"/>
              <a:chOff x="6099284" y="0"/>
              <a:chExt cx="6858000" cy="6218740"/>
            </a:xfrm>
          </p:grpSpPr>
          <p:cxnSp>
            <p:nvCxnSpPr>
              <p:cNvPr id="104" name="Gerade Verbindung 103">
                <a:extLst>
                  <a:ext uri="{FF2B5EF4-FFF2-40B4-BE49-F238E27FC236}">
                    <a16:creationId xmlns:a16="http://schemas.microsoft.com/office/drawing/2014/main" id="{F91F69C2-EC28-2749-9F7C-32B044EF8B40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3429000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104">
                <a:extLst>
                  <a:ext uri="{FF2B5EF4-FFF2-40B4-BE49-F238E27FC236}">
                    <a16:creationId xmlns:a16="http://schemas.microsoft.com/office/drawing/2014/main" id="{D472BF97-0CEC-5242-BC0D-A5B328835F78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2187575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105">
                <a:extLst>
                  <a:ext uri="{FF2B5EF4-FFF2-40B4-BE49-F238E27FC236}">
                    <a16:creationId xmlns:a16="http://schemas.microsoft.com/office/drawing/2014/main" id="{DE7E2BC5-82B4-FC4B-8D8C-86A0E4D9D918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1563511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106">
                <a:extLst>
                  <a:ext uri="{FF2B5EF4-FFF2-40B4-BE49-F238E27FC236}">
                    <a16:creationId xmlns:a16="http://schemas.microsoft.com/office/drawing/2014/main" id="{2A6EDD94-2EFA-D04F-9806-737127684A0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939447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107">
                <a:extLst>
                  <a:ext uri="{FF2B5EF4-FFF2-40B4-BE49-F238E27FC236}">
                    <a16:creationId xmlns:a16="http://schemas.microsoft.com/office/drawing/2014/main" id="{C4E1F2CB-96D6-0648-A8C0-3F009AE655CE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315383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>
                <a:extLst>
                  <a:ext uri="{FF2B5EF4-FFF2-40B4-BE49-F238E27FC236}">
                    <a16:creationId xmlns:a16="http://schemas.microsoft.com/office/drawing/2014/main" id="{51C9EDF0-0F20-8E44-9281-56A54DADA982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308681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>
                <a:extLst>
                  <a:ext uri="{FF2B5EF4-FFF2-40B4-BE49-F238E27FC236}">
                    <a16:creationId xmlns:a16="http://schemas.microsoft.com/office/drawing/2014/main" id="{1568C36D-80B6-F54C-B5E2-AFB0EDBBBB9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932745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110">
                <a:extLst>
                  <a:ext uri="{FF2B5EF4-FFF2-40B4-BE49-F238E27FC236}">
                    <a16:creationId xmlns:a16="http://schemas.microsoft.com/office/drawing/2014/main" id="{C4FEA2F0-CEB9-9548-A9ED-FBB74EF15A0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1556809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111">
                <a:extLst>
                  <a:ext uri="{FF2B5EF4-FFF2-40B4-BE49-F238E27FC236}">
                    <a16:creationId xmlns:a16="http://schemas.microsoft.com/office/drawing/2014/main" id="{B2FD4816-7C07-7E41-AECA-9DA7A5BA9FD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2180873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112">
                <a:extLst>
                  <a:ext uri="{FF2B5EF4-FFF2-40B4-BE49-F238E27FC236}">
                    <a16:creationId xmlns:a16="http://schemas.microsoft.com/office/drawing/2014/main" id="{95A139E8-EE67-3C43-9C41-E421ECCD54C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2804937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113">
                <a:extLst>
                  <a:ext uri="{FF2B5EF4-FFF2-40B4-BE49-F238E27FC236}">
                    <a16:creationId xmlns:a16="http://schemas.microsoft.com/office/drawing/2014/main" id="{E9789B31-A101-4A40-9667-CF28773C8127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2789740"/>
                <a:ext cx="0" cy="6858000"/>
              </a:xfrm>
              <a:prstGeom prst="line">
                <a:avLst/>
              </a:prstGeom>
              <a:ln w="952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B02FECFF-A76B-6A4F-A336-2DF2ED1E056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61028" y="1556809"/>
            <a:ext cx="5151548" cy="2485305"/>
          </a:xfrm>
        </p:spPr>
        <p:txBody>
          <a:bodyPr lIns="0" tIns="0" anchor="t">
            <a:noAutofit/>
          </a:bodyPr>
          <a:lstStyle>
            <a:lvl1pPr marL="0" indent="0">
              <a:lnSpc>
                <a:spcPct val="80000"/>
              </a:lnSpc>
              <a:buNone/>
              <a:defRPr sz="5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 </a:t>
            </a:r>
            <a:r>
              <a:rPr lang="de-DE" baseline="30000"/>
              <a:t>1</a:t>
            </a:r>
            <a:endParaRPr lang="de-DE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3E0DB6AA-6884-EB4A-9AAE-6EA3D9D31664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6544935" y="6122020"/>
            <a:ext cx="5176304" cy="436691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E08BB34-C6DC-2B48-9D1E-C223EE5525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26225" y="324569"/>
            <a:ext cx="1152000" cy="234528"/>
            <a:chOff x="6626225" y="324570"/>
            <a:chExt cx="1082098" cy="220297"/>
          </a:xfrm>
        </p:grpSpPr>
        <p:grpSp>
          <p:nvGrpSpPr>
            <p:cNvPr id="64" name="Grafik 2">
              <a:extLst>
                <a:ext uri="{FF2B5EF4-FFF2-40B4-BE49-F238E27FC236}">
                  <a16:creationId xmlns:a16="http://schemas.microsoft.com/office/drawing/2014/main" id="{B09DDF28-9D37-294F-A82A-5FE4D4E429DD}"/>
                </a:ext>
              </a:extLst>
            </p:cNvPr>
            <p:cNvGrpSpPr/>
            <p:nvPr/>
          </p:nvGrpSpPr>
          <p:grpSpPr>
            <a:xfrm>
              <a:off x="6630764" y="324570"/>
              <a:ext cx="958549" cy="103650"/>
              <a:chOff x="486546" y="6178538"/>
              <a:chExt cx="1503664" cy="162594"/>
            </a:xfrm>
            <a:solidFill>
              <a:schemeClr val="accent2"/>
            </a:solidFill>
          </p:grpSpPr>
          <p:sp>
            <p:nvSpPr>
              <p:cNvPr id="77" name="Freihandform 76">
                <a:extLst>
                  <a:ext uri="{FF2B5EF4-FFF2-40B4-BE49-F238E27FC236}">
                    <a16:creationId xmlns:a16="http://schemas.microsoft.com/office/drawing/2014/main" id="{B9C580D4-9C76-0246-8AF8-CB4A87EDFD3B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 77">
                <a:extLst>
                  <a:ext uri="{FF2B5EF4-FFF2-40B4-BE49-F238E27FC236}">
                    <a16:creationId xmlns:a16="http://schemas.microsoft.com/office/drawing/2014/main" id="{580E97C6-FBC6-704D-AA85-1370EC9DD816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 78">
                <a:extLst>
                  <a:ext uri="{FF2B5EF4-FFF2-40B4-BE49-F238E27FC236}">
                    <a16:creationId xmlns:a16="http://schemas.microsoft.com/office/drawing/2014/main" id="{C1C5CC5E-9E60-8348-8D29-25B2A147D423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 79">
                <a:extLst>
                  <a:ext uri="{FF2B5EF4-FFF2-40B4-BE49-F238E27FC236}">
                    <a16:creationId xmlns:a16="http://schemas.microsoft.com/office/drawing/2014/main" id="{267169CC-6D1D-5745-B628-33354D720823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 80">
                <a:extLst>
                  <a:ext uri="{FF2B5EF4-FFF2-40B4-BE49-F238E27FC236}">
                    <a16:creationId xmlns:a16="http://schemas.microsoft.com/office/drawing/2014/main" id="{F2A70B03-31C0-9D42-8E28-24C3FA6D26F0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 81">
                <a:extLst>
                  <a:ext uri="{FF2B5EF4-FFF2-40B4-BE49-F238E27FC236}">
                    <a16:creationId xmlns:a16="http://schemas.microsoft.com/office/drawing/2014/main" id="{8B80B97B-DE0D-4E4E-B629-B69E26DC540E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 82">
                <a:extLst>
                  <a:ext uri="{FF2B5EF4-FFF2-40B4-BE49-F238E27FC236}">
                    <a16:creationId xmlns:a16="http://schemas.microsoft.com/office/drawing/2014/main" id="{1C323955-D925-1847-89DF-7347758B2796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 83">
                <a:extLst>
                  <a:ext uri="{FF2B5EF4-FFF2-40B4-BE49-F238E27FC236}">
                    <a16:creationId xmlns:a16="http://schemas.microsoft.com/office/drawing/2014/main" id="{1821F34F-00A2-064A-B274-398AB90D0E33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 84">
                <a:extLst>
                  <a:ext uri="{FF2B5EF4-FFF2-40B4-BE49-F238E27FC236}">
                    <a16:creationId xmlns:a16="http://schemas.microsoft.com/office/drawing/2014/main" id="{9C469412-749D-4B49-9785-CA102577914A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" name="Grafik 2">
              <a:extLst>
                <a:ext uri="{FF2B5EF4-FFF2-40B4-BE49-F238E27FC236}">
                  <a16:creationId xmlns:a16="http://schemas.microsoft.com/office/drawing/2014/main" id="{EF24D23E-9C06-BF42-B879-68CC6BCF5336}"/>
                </a:ext>
              </a:extLst>
            </p:cNvPr>
            <p:cNvGrpSpPr/>
            <p:nvPr/>
          </p:nvGrpSpPr>
          <p:grpSpPr>
            <a:xfrm>
              <a:off x="6626225" y="338217"/>
              <a:ext cx="1082098" cy="206650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66" name="Freihandform 65">
                <a:extLst>
                  <a:ext uri="{FF2B5EF4-FFF2-40B4-BE49-F238E27FC236}">
                    <a16:creationId xmlns:a16="http://schemas.microsoft.com/office/drawing/2014/main" id="{9F52E7DF-3A63-E94E-92A7-13FFEA25236D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 67">
                <a:extLst>
                  <a:ext uri="{FF2B5EF4-FFF2-40B4-BE49-F238E27FC236}">
                    <a16:creationId xmlns:a16="http://schemas.microsoft.com/office/drawing/2014/main" id="{C6190572-AA0A-6949-A838-EC4AF7541659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 69">
                <a:extLst>
                  <a:ext uri="{FF2B5EF4-FFF2-40B4-BE49-F238E27FC236}">
                    <a16:creationId xmlns:a16="http://schemas.microsoft.com/office/drawing/2014/main" id="{4744B9C7-9098-EE43-8ED6-279F6D8FE0AB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 70">
                <a:extLst>
                  <a:ext uri="{FF2B5EF4-FFF2-40B4-BE49-F238E27FC236}">
                    <a16:creationId xmlns:a16="http://schemas.microsoft.com/office/drawing/2014/main" id="{2C6DBF0D-80A4-2A49-A397-C128902DF69E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 71">
                <a:extLst>
                  <a:ext uri="{FF2B5EF4-FFF2-40B4-BE49-F238E27FC236}">
                    <a16:creationId xmlns:a16="http://schemas.microsoft.com/office/drawing/2014/main" id="{5EE08758-1AFD-C944-9417-3EC42B5563C0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 72">
                <a:extLst>
                  <a:ext uri="{FF2B5EF4-FFF2-40B4-BE49-F238E27FC236}">
                    <a16:creationId xmlns:a16="http://schemas.microsoft.com/office/drawing/2014/main" id="{BCB394BC-866B-3F44-AD2B-25729B28854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 73">
                <a:extLst>
                  <a:ext uri="{FF2B5EF4-FFF2-40B4-BE49-F238E27FC236}">
                    <a16:creationId xmlns:a16="http://schemas.microsoft.com/office/drawing/2014/main" id="{376D053E-052A-404C-B119-6C417C06BAE2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Freihandform 74">
                <a:extLst>
                  <a:ext uri="{FF2B5EF4-FFF2-40B4-BE49-F238E27FC236}">
                    <a16:creationId xmlns:a16="http://schemas.microsoft.com/office/drawing/2014/main" id="{E2FEB6DE-59CE-6442-95D1-523090F37D03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 75">
                <a:extLst>
                  <a:ext uri="{FF2B5EF4-FFF2-40B4-BE49-F238E27FC236}">
                    <a16:creationId xmlns:a16="http://schemas.microsoft.com/office/drawing/2014/main" id="{37EDE53F-8897-C445-8C50-C24C7ACAD0A7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ED4E090-29DE-E046-8CE9-665FD4C1478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541653" y="5314089"/>
            <a:ext cx="5170922" cy="807931"/>
          </a:xfrm>
        </p:spPr>
        <p:txBody>
          <a:bodyPr lIns="0" tIns="0" anchor="b">
            <a:noAutofit/>
          </a:bodyPr>
          <a:lstStyle>
            <a:lvl1pPr marL="0" indent="0">
              <a:lnSpc>
                <a:spcPts val="1920"/>
              </a:lnSpc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1893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10DAA-7769-4D4B-9193-A217D19576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9829800" cy="2387600"/>
          </a:xfrm>
        </p:spPr>
        <p:txBody>
          <a:bodyPr anchor="t"/>
          <a:lstStyle>
            <a:lvl1pPr algn="l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5F2720A-77E4-C140-B3D1-38BE033422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98298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B33083B-2E04-B74F-A54F-3F286CF8F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E7E484-1151-7A4E-B103-2CC5D1154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6133" y="6356350"/>
            <a:ext cx="5647267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6C632A-A4D5-724A-AD60-9692ACCA5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CECEA-888C-F446-979B-47B1FBF9BCE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00199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Raster und oranger Hinter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C5F7AA0-4906-9346-AD88-5DB88019B54F}"/>
              </a:ext>
            </a:extLst>
          </p:cNvPr>
          <p:cNvGrpSpPr/>
          <p:nvPr userDrawn="1"/>
        </p:nvGrpSpPr>
        <p:grpSpPr>
          <a:xfrm>
            <a:off x="6096000" y="0"/>
            <a:ext cx="6861284" cy="6858000"/>
            <a:chOff x="6096000" y="0"/>
            <a:chExt cx="6861284" cy="6858000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37156CE-A0E9-3347-BA69-CECB9EB2BC90}"/>
                </a:ext>
              </a:extLst>
            </p:cNvPr>
            <p:cNvGrpSpPr/>
            <p:nvPr userDrawn="1"/>
          </p:nvGrpSpPr>
          <p:grpSpPr>
            <a:xfrm>
              <a:off x="6096000" y="0"/>
              <a:ext cx="6096000" cy="6858000"/>
              <a:chOff x="6096000" y="0"/>
              <a:chExt cx="6096000" cy="6858000"/>
            </a:xfrm>
          </p:grpSpPr>
          <p:sp>
            <p:nvSpPr>
              <p:cNvPr id="3" name="Rechteck 2">
                <a:extLst>
                  <a:ext uri="{FF2B5EF4-FFF2-40B4-BE49-F238E27FC236}">
                    <a16:creationId xmlns:a16="http://schemas.microsoft.com/office/drawing/2014/main" id="{C41CB594-C0F8-B448-84FC-88E7B2DCF5E8}"/>
                  </a:ext>
                </a:extLst>
              </p:cNvPr>
              <p:cNvSpPr/>
              <p:nvPr userDrawn="1"/>
            </p:nvSpPr>
            <p:spPr>
              <a:xfrm>
                <a:off x="6096000" y="0"/>
                <a:ext cx="6096000" cy="343994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CE575AAC-2AD6-4849-AC69-BA4C2F5B376F}"/>
                  </a:ext>
                </a:extLst>
              </p:cNvPr>
              <p:cNvSpPr/>
              <p:nvPr userDrawn="1"/>
            </p:nvSpPr>
            <p:spPr>
              <a:xfrm>
                <a:off x="10464448" y="3418051"/>
                <a:ext cx="1727552" cy="343994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FCC474EA-817E-2F4E-B755-589893B3EFBF}"/>
                </a:ext>
              </a:extLst>
            </p:cNvPr>
            <p:cNvGrpSpPr/>
            <p:nvPr userDrawn="1"/>
          </p:nvGrpSpPr>
          <p:grpSpPr>
            <a:xfrm>
              <a:off x="6096000" y="0"/>
              <a:ext cx="6861284" cy="6858000"/>
              <a:chOff x="6096000" y="0"/>
              <a:chExt cx="6861284" cy="6858000"/>
            </a:xfrm>
          </p:grpSpPr>
          <p:cxnSp>
            <p:nvCxnSpPr>
              <p:cNvPr id="109" name="Gerade Verbindung 108">
                <a:extLst>
                  <a:ext uri="{FF2B5EF4-FFF2-40B4-BE49-F238E27FC236}">
                    <a16:creationId xmlns:a16="http://schemas.microsoft.com/office/drawing/2014/main" id="{D3B8AEBE-022A-8547-BF03-C1D06395E95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000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>
                <a:extLst>
                  <a:ext uri="{FF2B5EF4-FFF2-40B4-BE49-F238E27FC236}">
                    <a16:creationId xmlns:a16="http://schemas.microsoft.com/office/drawing/2014/main" id="{0619609D-B3B2-EF4D-8516-11259DF510E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720064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110">
                <a:extLst>
                  <a:ext uri="{FF2B5EF4-FFF2-40B4-BE49-F238E27FC236}">
                    <a16:creationId xmlns:a16="http://schemas.microsoft.com/office/drawing/2014/main" id="{963B1795-4EF3-B940-9150-6955396D0C2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44128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111">
                <a:extLst>
                  <a:ext uri="{FF2B5EF4-FFF2-40B4-BE49-F238E27FC236}">
                    <a16:creationId xmlns:a16="http://schemas.microsoft.com/office/drawing/2014/main" id="{99B90543-62DA-E440-81A3-ED92ECF269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68192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112">
                <a:extLst>
                  <a:ext uri="{FF2B5EF4-FFF2-40B4-BE49-F238E27FC236}">
                    <a16:creationId xmlns:a16="http://schemas.microsoft.com/office/drawing/2014/main" id="{585C7255-662C-D841-888F-1BFC34FBE2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592256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113">
                <a:extLst>
                  <a:ext uri="{FF2B5EF4-FFF2-40B4-BE49-F238E27FC236}">
                    <a16:creationId xmlns:a16="http://schemas.microsoft.com/office/drawing/2014/main" id="{274835AE-DD78-1440-A983-97315F67BB2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216320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114">
                <a:extLst>
                  <a:ext uri="{FF2B5EF4-FFF2-40B4-BE49-F238E27FC236}">
                    <a16:creationId xmlns:a16="http://schemas.microsoft.com/office/drawing/2014/main" id="{3019100C-6DCB-3F43-9C01-1ADB41B826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40384" y="0"/>
                <a:ext cx="0" cy="343994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115">
                <a:extLst>
                  <a:ext uri="{FF2B5EF4-FFF2-40B4-BE49-F238E27FC236}">
                    <a16:creationId xmlns:a16="http://schemas.microsoft.com/office/drawing/2014/main" id="{DF197F9B-0351-5145-87FE-8C25549CB9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464448" y="0"/>
                <a:ext cx="0" cy="6858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116">
                <a:extLst>
                  <a:ext uri="{FF2B5EF4-FFF2-40B4-BE49-F238E27FC236}">
                    <a16:creationId xmlns:a16="http://schemas.microsoft.com/office/drawing/2014/main" id="{8559A0E5-5FD8-DD48-83E5-53552B2675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88512" y="0"/>
                <a:ext cx="0" cy="6858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117">
                <a:extLst>
                  <a:ext uri="{FF2B5EF4-FFF2-40B4-BE49-F238E27FC236}">
                    <a16:creationId xmlns:a16="http://schemas.microsoft.com/office/drawing/2014/main" id="{19C2BF68-BBDB-DE49-B207-0151A14B91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712575" y="0"/>
                <a:ext cx="0" cy="6858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18">
                <a:extLst>
                  <a:ext uri="{FF2B5EF4-FFF2-40B4-BE49-F238E27FC236}">
                    <a16:creationId xmlns:a16="http://schemas.microsoft.com/office/drawing/2014/main" id="{3EDEC10C-50C4-6443-9A93-A042C03F9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9528284" y="-3109370"/>
                <a:ext cx="0" cy="6858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119">
                <a:extLst>
                  <a:ext uri="{FF2B5EF4-FFF2-40B4-BE49-F238E27FC236}">
                    <a16:creationId xmlns:a16="http://schemas.microsoft.com/office/drawing/2014/main" id="{AF95E803-A711-E749-A5A9-90B4422EA1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464448" y="5936205"/>
                <a:ext cx="2492836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20">
                <a:extLst>
                  <a:ext uri="{FF2B5EF4-FFF2-40B4-BE49-F238E27FC236}">
                    <a16:creationId xmlns:a16="http://schemas.microsoft.com/office/drawing/2014/main" id="{DCE702E0-6C59-9C46-8394-A7AD361D44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464448" y="5312141"/>
                <a:ext cx="1248127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121">
                <a:extLst>
                  <a:ext uri="{FF2B5EF4-FFF2-40B4-BE49-F238E27FC236}">
                    <a16:creationId xmlns:a16="http://schemas.microsoft.com/office/drawing/2014/main" id="{4DAA7EFD-71FF-4D4C-A3C9-385670CE510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464448" y="4688077"/>
                <a:ext cx="1248127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122">
                <a:extLst>
                  <a:ext uri="{FF2B5EF4-FFF2-40B4-BE49-F238E27FC236}">
                    <a16:creationId xmlns:a16="http://schemas.microsoft.com/office/drawing/2014/main" id="{84F2EE53-7969-6548-815C-728DF226C6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10464448" y="4032934"/>
                <a:ext cx="1248127" cy="4082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123">
                <a:extLst>
                  <a:ext uri="{FF2B5EF4-FFF2-40B4-BE49-F238E27FC236}">
                    <a16:creationId xmlns:a16="http://schemas.microsoft.com/office/drawing/2014/main" id="{7BC53E4B-397D-FA4D-B8F8-53676658DA7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9284" y="3439949"/>
                <a:ext cx="5613291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124">
                <a:extLst>
                  <a:ext uri="{FF2B5EF4-FFF2-40B4-BE49-F238E27FC236}">
                    <a16:creationId xmlns:a16="http://schemas.microsoft.com/office/drawing/2014/main" id="{A731B2DF-1E71-9144-B527-1AB4FAC761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9284" y="2815885"/>
                <a:ext cx="5613291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125">
                <a:extLst>
                  <a:ext uri="{FF2B5EF4-FFF2-40B4-BE49-F238E27FC236}">
                    <a16:creationId xmlns:a16="http://schemas.microsoft.com/office/drawing/2014/main" id="{C8CB0AB2-5619-E043-B5B8-86CFC00E123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9284" y="2191821"/>
                <a:ext cx="5613291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>
                <a:extLst>
                  <a:ext uri="{FF2B5EF4-FFF2-40B4-BE49-F238E27FC236}">
                    <a16:creationId xmlns:a16="http://schemas.microsoft.com/office/drawing/2014/main" id="{0F3ED9AA-0CEB-C847-85C0-58E7DE17A7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9284" y="1567757"/>
                <a:ext cx="5613291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>
                <a:extLst>
                  <a:ext uri="{FF2B5EF4-FFF2-40B4-BE49-F238E27FC236}">
                    <a16:creationId xmlns:a16="http://schemas.microsoft.com/office/drawing/2014/main" id="{FEE6B023-6FCA-3C4B-9155-CA259A4A76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9528284" y="-2485307"/>
                <a:ext cx="0" cy="6858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128">
                <a:extLst>
                  <a:ext uri="{FF2B5EF4-FFF2-40B4-BE49-F238E27FC236}">
                    <a16:creationId xmlns:a16="http://schemas.microsoft.com/office/drawing/2014/main" id="{B9A2AF98-C631-CF41-B57E-664D692038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464448" y="6538370"/>
                <a:ext cx="2492836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4D310DAA-7769-4D4B-9193-A217D19576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3" y="3759579"/>
            <a:ext cx="9360960" cy="1342547"/>
          </a:xfrm>
        </p:spPr>
        <p:txBody>
          <a:bodyPr lIns="0" tIns="0" rIns="90000" anchor="t">
            <a:noAutofit/>
          </a:bodyPr>
          <a:lstStyle>
            <a:lvl1pPr algn="l">
              <a:lnSpc>
                <a:spcPct val="80000"/>
              </a:lnSpc>
              <a:defRPr sz="5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E7E484-1151-7A4E-B103-2CC5D1154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448580" y="3309690"/>
            <a:ext cx="4992508" cy="26051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PP Telegraf" pitchFamily="2" charset="77"/>
              </a:defRPr>
            </a:lvl1pPr>
          </a:lstStyle>
          <a:p>
            <a:endParaRPr lang="de-DE"/>
          </a:p>
        </p:txBody>
      </p:sp>
      <p:sp>
        <p:nvSpPr>
          <p:cNvPr id="139" name="Untertitel 2">
            <a:extLst>
              <a:ext uri="{FF2B5EF4-FFF2-40B4-BE49-F238E27FC236}">
                <a16:creationId xmlns:a16="http://schemas.microsoft.com/office/drawing/2014/main" id="{07BD7159-734C-6B4F-8150-BF43C61F5C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3" y="5226682"/>
            <a:ext cx="9360959" cy="365125"/>
          </a:xfrm>
        </p:spPr>
        <p:txBody>
          <a:bodyPr lIns="0" tIns="0">
            <a:noAutofit/>
          </a:bodyPr>
          <a:lstStyle>
            <a:lvl1pPr marL="0" indent="0" algn="l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grpSp>
        <p:nvGrpSpPr>
          <p:cNvPr id="182" name="Gruppieren 181">
            <a:extLst>
              <a:ext uri="{FF2B5EF4-FFF2-40B4-BE49-F238E27FC236}">
                <a16:creationId xmlns:a16="http://schemas.microsoft.com/office/drawing/2014/main" id="{223FF3FB-5484-8544-A4AC-BBF60FF72421}"/>
              </a:ext>
            </a:extLst>
          </p:cNvPr>
          <p:cNvGrpSpPr/>
          <p:nvPr userDrawn="1"/>
        </p:nvGrpSpPr>
        <p:grpSpPr>
          <a:xfrm>
            <a:off x="479422" y="320139"/>
            <a:ext cx="1152000" cy="234528"/>
            <a:chOff x="479422" y="6290517"/>
            <a:chExt cx="1152000" cy="234528"/>
          </a:xfrm>
        </p:grpSpPr>
        <p:grpSp>
          <p:nvGrpSpPr>
            <p:cNvPr id="183" name="Grafik 2">
              <a:extLst>
                <a:ext uri="{FF2B5EF4-FFF2-40B4-BE49-F238E27FC236}">
                  <a16:creationId xmlns:a16="http://schemas.microsoft.com/office/drawing/2014/main" id="{3B550E6A-BD96-444B-A3A8-F7BF9803FF44}"/>
                </a:ext>
              </a:extLst>
            </p:cNvPr>
            <p:cNvGrpSpPr/>
            <p:nvPr/>
          </p:nvGrpSpPr>
          <p:grpSpPr>
            <a:xfrm>
              <a:off x="484254" y="6290517"/>
              <a:ext cx="1020470" cy="110346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194" name="Freihandform 193">
                <a:extLst>
                  <a:ext uri="{FF2B5EF4-FFF2-40B4-BE49-F238E27FC236}">
                    <a16:creationId xmlns:a16="http://schemas.microsoft.com/office/drawing/2014/main" id="{BD0477A3-249C-F044-A513-F5A90DF1B962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" name="Freihandform 194">
                <a:extLst>
                  <a:ext uri="{FF2B5EF4-FFF2-40B4-BE49-F238E27FC236}">
                    <a16:creationId xmlns:a16="http://schemas.microsoft.com/office/drawing/2014/main" id="{F5E1067C-AA1E-0244-97CE-526F842D86B5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" name="Freihandform 195">
                <a:extLst>
                  <a:ext uri="{FF2B5EF4-FFF2-40B4-BE49-F238E27FC236}">
                    <a16:creationId xmlns:a16="http://schemas.microsoft.com/office/drawing/2014/main" id="{E5A06031-DECC-A848-957D-3F99B5B737D9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Freihandform 196">
                <a:extLst>
                  <a:ext uri="{FF2B5EF4-FFF2-40B4-BE49-F238E27FC236}">
                    <a16:creationId xmlns:a16="http://schemas.microsoft.com/office/drawing/2014/main" id="{81EA8129-38ED-8943-B504-5A0B5EECC34C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Freihandform 197">
                <a:extLst>
                  <a:ext uri="{FF2B5EF4-FFF2-40B4-BE49-F238E27FC236}">
                    <a16:creationId xmlns:a16="http://schemas.microsoft.com/office/drawing/2014/main" id="{C1D17444-34B2-4546-8DAD-D6DF702135FF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Freihandform 198">
                <a:extLst>
                  <a:ext uri="{FF2B5EF4-FFF2-40B4-BE49-F238E27FC236}">
                    <a16:creationId xmlns:a16="http://schemas.microsoft.com/office/drawing/2014/main" id="{950AB6B4-021A-0F49-A907-D0363814CCD9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Freihandform 199">
                <a:extLst>
                  <a:ext uri="{FF2B5EF4-FFF2-40B4-BE49-F238E27FC236}">
                    <a16:creationId xmlns:a16="http://schemas.microsoft.com/office/drawing/2014/main" id="{6FD02706-6394-A248-9079-4F8E9845505D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Freihandform 200">
                <a:extLst>
                  <a:ext uri="{FF2B5EF4-FFF2-40B4-BE49-F238E27FC236}">
                    <a16:creationId xmlns:a16="http://schemas.microsoft.com/office/drawing/2014/main" id="{82F12954-F335-B548-B5AA-857AD98F2BAA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Freihandform 201">
                <a:extLst>
                  <a:ext uri="{FF2B5EF4-FFF2-40B4-BE49-F238E27FC236}">
                    <a16:creationId xmlns:a16="http://schemas.microsoft.com/office/drawing/2014/main" id="{9E5EA87F-BF08-F84E-AFB4-634C14602F37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4" name="Grafik 2">
              <a:extLst>
                <a:ext uri="{FF2B5EF4-FFF2-40B4-BE49-F238E27FC236}">
                  <a16:creationId xmlns:a16="http://schemas.microsoft.com/office/drawing/2014/main" id="{131C7E3C-3394-D04E-8BC6-B9C5B7BD049A}"/>
                </a:ext>
              </a:extLst>
            </p:cNvPr>
            <p:cNvGrpSpPr/>
            <p:nvPr/>
          </p:nvGrpSpPr>
          <p:grpSpPr>
            <a:xfrm>
              <a:off x="479422" y="6305046"/>
              <a:ext cx="1152000" cy="219999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185" name="Freihandform 184">
                <a:extLst>
                  <a:ext uri="{FF2B5EF4-FFF2-40B4-BE49-F238E27FC236}">
                    <a16:creationId xmlns:a16="http://schemas.microsoft.com/office/drawing/2014/main" id="{FA1F9855-BABE-ED48-8D69-F40D5BAA9034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Freihandform 185">
                <a:extLst>
                  <a:ext uri="{FF2B5EF4-FFF2-40B4-BE49-F238E27FC236}">
                    <a16:creationId xmlns:a16="http://schemas.microsoft.com/office/drawing/2014/main" id="{DD77C8C3-9E71-FC4B-B999-A128BED6A910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Freihandform 186">
                <a:extLst>
                  <a:ext uri="{FF2B5EF4-FFF2-40B4-BE49-F238E27FC236}">
                    <a16:creationId xmlns:a16="http://schemas.microsoft.com/office/drawing/2014/main" id="{0935C0EF-D60D-814F-BA20-EBB1CD67843E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Freihandform 187">
                <a:extLst>
                  <a:ext uri="{FF2B5EF4-FFF2-40B4-BE49-F238E27FC236}">
                    <a16:creationId xmlns:a16="http://schemas.microsoft.com/office/drawing/2014/main" id="{4880D63D-807E-E740-B45B-39F5625FD12D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" name="Freihandform 188">
                <a:extLst>
                  <a:ext uri="{FF2B5EF4-FFF2-40B4-BE49-F238E27FC236}">
                    <a16:creationId xmlns:a16="http://schemas.microsoft.com/office/drawing/2014/main" id="{1F4004BF-14E1-EE41-A3AC-302140DAE739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" name="Freihandform 189">
                <a:extLst>
                  <a:ext uri="{FF2B5EF4-FFF2-40B4-BE49-F238E27FC236}">
                    <a16:creationId xmlns:a16="http://schemas.microsoft.com/office/drawing/2014/main" id="{D6D3F963-C2DF-694C-A47B-FD4073B4061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" name="Freihandform 190">
                <a:extLst>
                  <a:ext uri="{FF2B5EF4-FFF2-40B4-BE49-F238E27FC236}">
                    <a16:creationId xmlns:a16="http://schemas.microsoft.com/office/drawing/2014/main" id="{1974C690-1C30-5E41-BB3E-09B8B165A505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2" name="Freihandform 191">
                <a:extLst>
                  <a:ext uri="{FF2B5EF4-FFF2-40B4-BE49-F238E27FC236}">
                    <a16:creationId xmlns:a16="http://schemas.microsoft.com/office/drawing/2014/main" id="{81309934-0B93-6B45-8353-C2CAF3DA020C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3" name="Freihandform 192">
                <a:extLst>
                  <a:ext uri="{FF2B5EF4-FFF2-40B4-BE49-F238E27FC236}">
                    <a16:creationId xmlns:a16="http://schemas.microsoft.com/office/drawing/2014/main" id="{BE1AD8D5-AEF6-894C-9AEE-8812916569BA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5411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9AB152FF-E6E5-1546-9B31-83BE40BDFCA5}"/>
              </a:ext>
            </a:extLst>
          </p:cNvPr>
          <p:cNvGrpSpPr/>
          <p:nvPr userDrawn="1"/>
        </p:nvGrpSpPr>
        <p:grpSpPr>
          <a:xfrm>
            <a:off x="6096000" y="0"/>
            <a:ext cx="6861284" cy="6858000"/>
            <a:chOff x="6096000" y="0"/>
            <a:chExt cx="6861284" cy="6858000"/>
          </a:xfrm>
        </p:grpSpPr>
        <p:cxnSp>
          <p:nvCxnSpPr>
            <p:cNvPr id="93" name="Gerade Verbindung 92">
              <a:extLst>
                <a:ext uri="{FF2B5EF4-FFF2-40B4-BE49-F238E27FC236}">
                  <a16:creationId xmlns:a16="http://schemas.microsoft.com/office/drawing/2014/main" id="{42F596AE-7362-BE4D-8E75-E1317DD4D5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>
              <a:extLst>
                <a:ext uri="{FF2B5EF4-FFF2-40B4-BE49-F238E27FC236}">
                  <a16:creationId xmlns:a16="http://schemas.microsoft.com/office/drawing/2014/main" id="{06F03A52-7A09-9549-8266-253B7E4B6D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>
              <a:extLst>
                <a:ext uri="{FF2B5EF4-FFF2-40B4-BE49-F238E27FC236}">
                  <a16:creationId xmlns:a16="http://schemas.microsoft.com/office/drawing/2014/main" id="{541BA91F-326A-C64C-9A81-50E8159975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>
              <a:extLst>
                <a:ext uri="{FF2B5EF4-FFF2-40B4-BE49-F238E27FC236}">
                  <a16:creationId xmlns:a16="http://schemas.microsoft.com/office/drawing/2014/main" id="{FD99C671-0E37-E54B-9EFF-1A0C2D2358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>
              <a:extLst>
                <a:ext uri="{FF2B5EF4-FFF2-40B4-BE49-F238E27FC236}">
                  <a16:creationId xmlns:a16="http://schemas.microsoft.com/office/drawing/2014/main" id="{8E76B30E-2BE9-284F-81C5-0C4CCB50A7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>
              <a:extLst>
                <a:ext uri="{FF2B5EF4-FFF2-40B4-BE49-F238E27FC236}">
                  <a16:creationId xmlns:a16="http://schemas.microsoft.com/office/drawing/2014/main" id="{A3C6C484-F3E4-A741-AE8A-1DA632C8B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>
              <a:extLst>
                <a:ext uri="{FF2B5EF4-FFF2-40B4-BE49-F238E27FC236}">
                  <a16:creationId xmlns:a16="http://schemas.microsoft.com/office/drawing/2014/main" id="{75DC77E9-0F8D-1546-B391-42A838FB08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>
              <a:extLst>
                <a:ext uri="{FF2B5EF4-FFF2-40B4-BE49-F238E27FC236}">
                  <a16:creationId xmlns:a16="http://schemas.microsoft.com/office/drawing/2014/main" id="{0E40ED96-14C8-C64F-9BA7-F5A57F669A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>
              <a:extLst>
                <a:ext uri="{FF2B5EF4-FFF2-40B4-BE49-F238E27FC236}">
                  <a16:creationId xmlns:a16="http://schemas.microsoft.com/office/drawing/2014/main" id="{D89D3CAA-CD24-A74F-961A-548BD06F8F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>
              <a:extLst>
                <a:ext uri="{FF2B5EF4-FFF2-40B4-BE49-F238E27FC236}">
                  <a16:creationId xmlns:a16="http://schemas.microsoft.com/office/drawing/2014/main" id="{F6640A8A-B165-2046-B0C4-394F3E25F0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4B9B51AB-A433-EB4E-BB99-7EA81DA46E2A}"/>
                </a:ext>
              </a:extLst>
            </p:cNvPr>
            <p:cNvGrpSpPr/>
            <p:nvPr userDrawn="1"/>
          </p:nvGrpSpPr>
          <p:grpSpPr>
            <a:xfrm>
              <a:off x="6099284" y="319630"/>
              <a:ext cx="6858000" cy="6218740"/>
              <a:chOff x="6099284" y="0"/>
              <a:chExt cx="6858000" cy="6218740"/>
            </a:xfrm>
          </p:grpSpPr>
          <p:cxnSp>
            <p:nvCxnSpPr>
              <p:cNvPr id="104" name="Gerade Verbindung 103">
                <a:extLst>
                  <a:ext uri="{FF2B5EF4-FFF2-40B4-BE49-F238E27FC236}">
                    <a16:creationId xmlns:a16="http://schemas.microsoft.com/office/drawing/2014/main" id="{F91F69C2-EC28-2749-9F7C-32B044EF8B40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3429000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104">
                <a:extLst>
                  <a:ext uri="{FF2B5EF4-FFF2-40B4-BE49-F238E27FC236}">
                    <a16:creationId xmlns:a16="http://schemas.microsoft.com/office/drawing/2014/main" id="{D472BF97-0CEC-5242-BC0D-A5B328835F78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2187575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105">
                <a:extLst>
                  <a:ext uri="{FF2B5EF4-FFF2-40B4-BE49-F238E27FC236}">
                    <a16:creationId xmlns:a16="http://schemas.microsoft.com/office/drawing/2014/main" id="{DE7E2BC5-82B4-FC4B-8D8C-86A0E4D9D918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1563511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106">
                <a:extLst>
                  <a:ext uri="{FF2B5EF4-FFF2-40B4-BE49-F238E27FC236}">
                    <a16:creationId xmlns:a16="http://schemas.microsoft.com/office/drawing/2014/main" id="{2A6EDD94-2EFA-D04F-9806-737127684A0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939447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107">
                <a:extLst>
                  <a:ext uri="{FF2B5EF4-FFF2-40B4-BE49-F238E27FC236}">
                    <a16:creationId xmlns:a16="http://schemas.microsoft.com/office/drawing/2014/main" id="{C4E1F2CB-96D6-0648-A8C0-3F009AE655CE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315383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>
                <a:extLst>
                  <a:ext uri="{FF2B5EF4-FFF2-40B4-BE49-F238E27FC236}">
                    <a16:creationId xmlns:a16="http://schemas.microsoft.com/office/drawing/2014/main" id="{51C9EDF0-0F20-8E44-9281-56A54DADA982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308681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>
                <a:extLst>
                  <a:ext uri="{FF2B5EF4-FFF2-40B4-BE49-F238E27FC236}">
                    <a16:creationId xmlns:a16="http://schemas.microsoft.com/office/drawing/2014/main" id="{1568C36D-80B6-F54C-B5E2-AFB0EDBBBB9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932745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110">
                <a:extLst>
                  <a:ext uri="{FF2B5EF4-FFF2-40B4-BE49-F238E27FC236}">
                    <a16:creationId xmlns:a16="http://schemas.microsoft.com/office/drawing/2014/main" id="{C4FEA2F0-CEB9-9548-A9ED-FBB74EF15A0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1556809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111">
                <a:extLst>
                  <a:ext uri="{FF2B5EF4-FFF2-40B4-BE49-F238E27FC236}">
                    <a16:creationId xmlns:a16="http://schemas.microsoft.com/office/drawing/2014/main" id="{B2FD4816-7C07-7E41-AECA-9DA7A5BA9FD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2180873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112">
                <a:extLst>
                  <a:ext uri="{FF2B5EF4-FFF2-40B4-BE49-F238E27FC236}">
                    <a16:creationId xmlns:a16="http://schemas.microsoft.com/office/drawing/2014/main" id="{95A139E8-EE67-3C43-9C41-E421ECCD54C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-2804937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113">
                <a:extLst>
                  <a:ext uri="{FF2B5EF4-FFF2-40B4-BE49-F238E27FC236}">
                    <a16:creationId xmlns:a16="http://schemas.microsoft.com/office/drawing/2014/main" id="{E9789B31-A101-4A40-9667-CF28773C8127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528284" y="2789740"/>
                <a:ext cx="0" cy="6858000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B02FECFF-A76B-6A4F-A336-2DF2ED1E056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1563169"/>
            <a:ext cx="5157787" cy="4373023"/>
          </a:xfrm>
        </p:spPr>
        <p:txBody>
          <a:bodyPr lIns="0" tIns="0" anchor="t">
            <a:noAutofit/>
          </a:bodyPr>
          <a:lstStyle>
            <a:lvl1pPr marL="0" indent="0">
              <a:spcBef>
                <a:spcPts val="500"/>
              </a:spcBef>
              <a:buNone/>
              <a:defRPr sz="2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 </a:t>
            </a:r>
            <a:r>
              <a:rPr lang="de-DE" baseline="30000"/>
              <a:t>1</a:t>
            </a:r>
            <a:endParaRPr lang="de-DE"/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2EC49FA4-4BA8-2940-9EEA-F15E4B509E9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4" y="324570"/>
            <a:ext cx="5157787" cy="237768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A8624FEB-AB4F-6148-9C16-6F5F9A8C8239}"/>
              </a:ext>
            </a:extLst>
          </p:cNvPr>
          <p:cNvGrpSpPr/>
          <p:nvPr userDrawn="1"/>
        </p:nvGrpSpPr>
        <p:grpSpPr>
          <a:xfrm>
            <a:off x="479422" y="6290517"/>
            <a:ext cx="1152000" cy="234528"/>
            <a:chOff x="479422" y="6290517"/>
            <a:chExt cx="1152000" cy="234528"/>
          </a:xfrm>
        </p:grpSpPr>
        <p:grpSp>
          <p:nvGrpSpPr>
            <p:cNvPr id="152" name="Grafik 2">
              <a:extLst>
                <a:ext uri="{FF2B5EF4-FFF2-40B4-BE49-F238E27FC236}">
                  <a16:creationId xmlns:a16="http://schemas.microsoft.com/office/drawing/2014/main" id="{4A83D6D0-48B0-1847-BF47-CF7696AFAB53}"/>
                </a:ext>
              </a:extLst>
            </p:cNvPr>
            <p:cNvGrpSpPr/>
            <p:nvPr/>
          </p:nvGrpSpPr>
          <p:grpSpPr>
            <a:xfrm>
              <a:off x="484254" y="6290517"/>
              <a:ext cx="1020470" cy="110346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163" name="Freihandform 162">
                <a:extLst>
                  <a:ext uri="{FF2B5EF4-FFF2-40B4-BE49-F238E27FC236}">
                    <a16:creationId xmlns:a16="http://schemas.microsoft.com/office/drawing/2014/main" id="{483BDDA3-FC90-B847-9F29-AD83BD5F2487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" name="Freihandform 163">
                <a:extLst>
                  <a:ext uri="{FF2B5EF4-FFF2-40B4-BE49-F238E27FC236}">
                    <a16:creationId xmlns:a16="http://schemas.microsoft.com/office/drawing/2014/main" id="{8BC9ADC4-94E6-F746-B588-AB4C4FDBE0F5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" name="Freihandform 164">
                <a:extLst>
                  <a:ext uri="{FF2B5EF4-FFF2-40B4-BE49-F238E27FC236}">
                    <a16:creationId xmlns:a16="http://schemas.microsoft.com/office/drawing/2014/main" id="{34C56E8B-F029-494B-A777-B35B960542FC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" name="Freihandform 165">
                <a:extLst>
                  <a:ext uri="{FF2B5EF4-FFF2-40B4-BE49-F238E27FC236}">
                    <a16:creationId xmlns:a16="http://schemas.microsoft.com/office/drawing/2014/main" id="{E7EACB24-DC75-3743-87DA-84FCDB723F2F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" name="Freihandform 166">
                <a:extLst>
                  <a:ext uri="{FF2B5EF4-FFF2-40B4-BE49-F238E27FC236}">
                    <a16:creationId xmlns:a16="http://schemas.microsoft.com/office/drawing/2014/main" id="{6D1C5A27-15E4-444E-BAD4-08408E28332F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" name="Freihandform 167">
                <a:extLst>
                  <a:ext uri="{FF2B5EF4-FFF2-40B4-BE49-F238E27FC236}">
                    <a16:creationId xmlns:a16="http://schemas.microsoft.com/office/drawing/2014/main" id="{0B843496-CEBE-DE43-87A6-4DE6268AADC9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" name="Freihandform 168">
                <a:extLst>
                  <a:ext uri="{FF2B5EF4-FFF2-40B4-BE49-F238E27FC236}">
                    <a16:creationId xmlns:a16="http://schemas.microsoft.com/office/drawing/2014/main" id="{6E78EBF2-27C3-1040-BC09-A51EF47C6C40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" name="Freihandform 169">
                <a:extLst>
                  <a:ext uri="{FF2B5EF4-FFF2-40B4-BE49-F238E27FC236}">
                    <a16:creationId xmlns:a16="http://schemas.microsoft.com/office/drawing/2014/main" id="{7491EE48-27F7-CD4F-8CBC-2BC9FA6A4D5E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" name="Freihandform 170">
                <a:extLst>
                  <a:ext uri="{FF2B5EF4-FFF2-40B4-BE49-F238E27FC236}">
                    <a16:creationId xmlns:a16="http://schemas.microsoft.com/office/drawing/2014/main" id="{3EAD04A8-FBF9-DA42-B6D0-5BEA157DD232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3" name="Grafik 2">
              <a:extLst>
                <a:ext uri="{FF2B5EF4-FFF2-40B4-BE49-F238E27FC236}">
                  <a16:creationId xmlns:a16="http://schemas.microsoft.com/office/drawing/2014/main" id="{370C8140-8528-DF49-B394-06ED8A859158}"/>
                </a:ext>
              </a:extLst>
            </p:cNvPr>
            <p:cNvGrpSpPr/>
            <p:nvPr/>
          </p:nvGrpSpPr>
          <p:grpSpPr>
            <a:xfrm>
              <a:off x="479422" y="6305046"/>
              <a:ext cx="1152000" cy="219999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E1C1BF4B-E2FF-694E-B9E9-EA8ABB840BF9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F8D687BB-D89C-AC47-A1FF-5DEA81FB9295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105A6745-163C-1D4D-9A2C-DBBB54A69012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0C5AFCBE-43F6-2147-B14E-E563BBBEADA7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539BD1FA-3BD3-AE40-9F6A-355F90D8C129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2FA50E9E-CF89-8C4F-B597-965E2C4867D0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BA07ED06-82DC-0545-995D-40655E1588A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EAA39B11-CFB1-6A4D-B703-DBB714EFE2B1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" name="Freihandform 161">
                <a:extLst>
                  <a:ext uri="{FF2B5EF4-FFF2-40B4-BE49-F238E27FC236}">
                    <a16:creationId xmlns:a16="http://schemas.microsoft.com/office/drawing/2014/main" id="{867E876D-EA82-A34D-A2D9-6491440232C8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1341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B02FECFF-A76B-6A4F-A336-2DF2ED1E056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1563169"/>
            <a:ext cx="10919179" cy="4373023"/>
          </a:xfrm>
        </p:spPr>
        <p:txBody>
          <a:bodyPr lIns="0" tIns="0" anchor="t">
            <a:noAutofit/>
          </a:bodyPr>
          <a:lstStyle>
            <a:lvl1pPr marL="0" indent="0">
              <a:spcBef>
                <a:spcPts val="500"/>
              </a:spcBef>
              <a:buNone/>
              <a:defRPr sz="2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 </a:t>
            </a:r>
            <a:r>
              <a:rPr lang="de-DE" baseline="30000"/>
              <a:t>1</a:t>
            </a:r>
            <a:endParaRPr lang="de-DE"/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2EC49FA4-4BA8-2940-9EEA-F15E4B509E9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4" y="324570"/>
            <a:ext cx="5157787" cy="237768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A8624FEB-AB4F-6148-9C16-6F5F9A8C8239}"/>
              </a:ext>
            </a:extLst>
          </p:cNvPr>
          <p:cNvGrpSpPr/>
          <p:nvPr userDrawn="1"/>
        </p:nvGrpSpPr>
        <p:grpSpPr>
          <a:xfrm>
            <a:off x="479422" y="6290517"/>
            <a:ext cx="1152000" cy="234528"/>
            <a:chOff x="479422" y="6290517"/>
            <a:chExt cx="1152000" cy="234528"/>
          </a:xfrm>
        </p:grpSpPr>
        <p:grpSp>
          <p:nvGrpSpPr>
            <p:cNvPr id="152" name="Grafik 2">
              <a:extLst>
                <a:ext uri="{FF2B5EF4-FFF2-40B4-BE49-F238E27FC236}">
                  <a16:creationId xmlns:a16="http://schemas.microsoft.com/office/drawing/2014/main" id="{4A83D6D0-48B0-1847-BF47-CF7696AFAB53}"/>
                </a:ext>
              </a:extLst>
            </p:cNvPr>
            <p:cNvGrpSpPr/>
            <p:nvPr/>
          </p:nvGrpSpPr>
          <p:grpSpPr>
            <a:xfrm>
              <a:off x="484254" y="6290517"/>
              <a:ext cx="1020470" cy="110346"/>
              <a:chOff x="486546" y="6178538"/>
              <a:chExt cx="1503664" cy="162594"/>
            </a:xfrm>
            <a:solidFill>
              <a:schemeClr val="accent4"/>
            </a:solidFill>
          </p:grpSpPr>
          <p:sp>
            <p:nvSpPr>
              <p:cNvPr id="163" name="Freihandform 162">
                <a:extLst>
                  <a:ext uri="{FF2B5EF4-FFF2-40B4-BE49-F238E27FC236}">
                    <a16:creationId xmlns:a16="http://schemas.microsoft.com/office/drawing/2014/main" id="{483BDDA3-FC90-B847-9F29-AD83BD5F2487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" name="Freihandform 163">
                <a:extLst>
                  <a:ext uri="{FF2B5EF4-FFF2-40B4-BE49-F238E27FC236}">
                    <a16:creationId xmlns:a16="http://schemas.microsoft.com/office/drawing/2014/main" id="{8BC9ADC4-94E6-F746-B588-AB4C4FDBE0F5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" name="Freihandform 164">
                <a:extLst>
                  <a:ext uri="{FF2B5EF4-FFF2-40B4-BE49-F238E27FC236}">
                    <a16:creationId xmlns:a16="http://schemas.microsoft.com/office/drawing/2014/main" id="{34C56E8B-F029-494B-A777-B35B960542FC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" name="Freihandform 165">
                <a:extLst>
                  <a:ext uri="{FF2B5EF4-FFF2-40B4-BE49-F238E27FC236}">
                    <a16:creationId xmlns:a16="http://schemas.microsoft.com/office/drawing/2014/main" id="{E7EACB24-DC75-3743-87DA-84FCDB723F2F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" name="Freihandform 166">
                <a:extLst>
                  <a:ext uri="{FF2B5EF4-FFF2-40B4-BE49-F238E27FC236}">
                    <a16:creationId xmlns:a16="http://schemas.microsoft.com/office/drawing/2014/main" id="{6D1C5A27-15E4-444E-BAD4-08408E28332F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" name="Freihandform 167">
                <a:extLst>
                  <a:ext uri="{FF2B5EF4-FFF2-40B4-BE49-F238E27FC236}">
                    <a16:creationId xmlns:a16="http://schemas.microsoft.com/office/drawing/2014/main" id="{0B843496-CEBE-DE43-87A6-4DE6268AADC9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" name="Freihandform 168">
                <a:extLst>
                  <a:ext uri="{FF2B5EF4-FFF2-40B4-BE49-F238E27FC236}">
                    <a16:creationId xmlns:a16="http://schemas.microsoft.com/office/drawing/2014/main" id="{6E78EBF2-27C3-1040-BC09-A51EF47C6C40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" name="Freihandform 169">
                <a:extLst>
                  <a:ext uri="{FF2B5EF4-FFF2-40B4-BE49-F238E27FC236}">
                    <a16:creationId xmlns:a16="http://schemas.microsoft.com/office/drawing/2014/main" id="{7491EE48-27F7-CD4F-8CBC-2BC9FA6A4D5E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" name="Freihandform 170">
                <a:extLst>
                  <a:ext uri="{FF2B5EF4-FFF2-40B4-BE49-F238E27FC236}">
                    <a16:creationId xmlns:a16="http://schemas.microsoft.com/office/drawing/2014/main" id="{3EAD04A8-FBF9-DA42-B6D0-5BEA157DD232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3" name="Grafik 2">
              <a:extLst>
                <a:ext uri="{FF2B5EF4-FFF2-40B4-BE49-F238E27FC236}">
                  <a16:creationId xmlns:a16="http://schemas.microsoft.com/office/drawing/2014/main" id="{370C8140-8528-DF49-B394-06ED8A859158}"/>
                </a:ext>
              </a:extLst>
            </p:cNvPr>
            <p:cNvGrpSpPr/>
            <p:nvPr/>
          </p:nvGrpSpPr>
          <p:grpSpPr>
            <a:xfrm>
              <a:off x="479422" y="6305046"/>
              <a:ext cx="1152000" cy="219999"/>
              <a:chOff x="479425" y="6199946"/>
              <a:chExt cx="1697473" cy="324169"/>
            </a:xfrm>
            <a:solidFill>
              <a:schemeClr val="bg1"/>
            </a:solidFill>
          </p:grpSpPr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E1C1BF4B-E2FF-694E-B9E9-EA8ABB840BF9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F8D687BB-D89C-AC47-A1FF-5DEA81FB9295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105A6745-163C-1D4D-9A2C-DBBB54A69012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0C5AFCBE-43F6-2147-B14E-E563BBBEADA7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539BD1FA-3BD3-AE40-9F6A-355F90D8C129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2FA50E9E-CF89-8C4F-B597-965E2C4867D0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BA07ED06-82DC-0545-995D-40655E1588A0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" name="Freihandform 160">
                <a:extLst>
                  <a:ext uri="{FF2B5EF4-FFF2-40B4-BE49-F238E27FC236}">
                    <a16:creationId xmlns:a16="http://schemas.microsoft.com/office/drawing/2014/main" id="{EAA39B11-CFB1-6A4D-B703-DBB714EFE2B1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" name="Freihandform 161">
                <a:extLst>
                  <a:ext uri="{FF2B5EF4-FFF2-40B4-BE49-F238E27FC236}">
                    <a16:creationId xmlns:a16="http://schemas.microsoft.com/office/drawing/2014/main" id="{867E876D-EA82-A34D-A2D9-6491440232C8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3953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85335-A2B7-5C49-A98D-95279E071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2" y="1542410"/>
            <a:ext cx="11233146" cy="1325563"/>
          </a:xfrm>
        </p:spPr>
        <p:txBody>
          <a:bodyPr lIns="0" tIns="0" anchor="t">
            <a:noAutofit/>
          </a:bodyPr>
          <a:lstStyle>
            <a:lvl1pPr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8A96507-F01B-D24E-A536-FE3A5BCDB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95280" y="324570"/>
            <a:ext cx="1181250" cy="970441"/>
          </a:xfrm>
          <a:noFill/>
        </p:spPr>
        <p:txBody>
          <a:bodyPr tIns="0" rIns="0" anchor="t"/>
          <a:lstStyle>
            <a:lvl1pPr algn="r">
              <a:defRPr sz="3800">
                <a:solidFill>
                  <a:schemeClr val="tx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F97233F-8102-2841-9DEC-0A51FC40CC59}"/>
              </a:ext>
            </a:extLst>
          </p:cNvPr>
          <p:cNvGrpSpPr/>
          <p:nvPr userDrawn="1"/>
        </p:nvGrpSpPr>
        <p:grpSpPr>
          <a:xfrm rot="10800000">
            <a:off x="479423" y="3429000"/>
            <a:ext cx="5616575" cy="3429000"/>
            <a:chOff x="6096000" y="0"/>
            <a:chExt cx="5616575" cy="6858000"/>
          </a:xfrm>
        </p:grpSpPr>
        <p:cxnSp>
          <p:nvCxnSpPr>
            <p:cNvPr id="8" name="Gerade Verbindung 7">
              <a:extLst>
                <a:ext uri="{FF2B5EF4-FFF2-40B4-BE49-F238E27FC236}">
                  <a16:creationId xmlns:a16="http://schemas.microsoft.com/office/drawing/2014/main" id="{6448E8DC-2743-9C46-B1A0-767EFFBD3E85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>
              <a:extLst>
                <a:ext uri="{FF2B5EF4-FFF2-40B4-BE49-F238E27FC236}">
                  <a16:creationId xmlns:a16="http://schemas.microsoft.com/office/drawing/2014/main" id="{EC005E64-D28E-D943-912C-5D689CA65B20}"/>
                </a:ext>
              </a:extLst>
            </p:cNvPr>
            <p:cNvCxnSpPr>
              <a:cxnSpLocks/>
            </p:cNvCxnSpPr>
            <p:nvPr/>
          </p:nvCxnSpPr>
          <p:spPr>
            <a:xfrm>
              <a:off x="672006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>
              <a:extLst>
                <a:ext uri="{FF2B5EF4-FFF2-40B4-BE49-F238E27FC236}">
                  <a16:creationId xmlns:a16="http://schemas.microsoft.com/office/drawing/2014/main" id="{E8827233-10E7-DB48-BD6D-06D6C73D4401}"/>
                </a:ext>
              </a:extLst>
            </p:cNvPr>
            <p:cNvCxnSpPr>
              <a:cxnSpLocks/>
            </p:cNvCxnSpPr>
            <p:nvPr/>
          </p:nvCxnSpPr>
          <p:spPr>
            <a:xfrm>
              <a:off x="734412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C30F5FDA-DEC9-9D4E-A8D2-0775B7F6DAB6}"/>
                </a:ext>
              </a:extLst>
            </p:cNvPr>
            <p:cNvCxnSpPr>
              <a:cxnSpLocks/>
            </p:cNvCxnSpPr>
            <p:nvPr/>
          </p:nvCxnSpPr>
          <p:spPr>
            <a:xfrm>
              <a:off x="796819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>
              <a:extLst>
                <a:ext uri="{FF2B5EF4-FFF2-40B4-BE49-F238E27FC236}">
                  <a16:creationId xmlns:a16="http://schemas.microsoft.com/office/drawing/2014/main" id="{927BCDC3-4394-5944-8EA9-AEB24E2EB5F7}"/>
                </a:ext>
              </a:extLst>
            </p:cNvPr>
            <p:cNvCxnSpPr>
              <a:cxnSpLocks/>
            </p:cNvCxnSpPr>
            <p:nvPr/>
          </p:nvCxnSpPr>
          <p:spPr>
            <a:xfrm>
              <a:off x="8592256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>
              <a:extLst>
                <a:ext uri="{FF2B5EF4-FFF2-40B4-BE49-F238E27FC236}">
                  <a16:creationId xmlns:a16="http://schemas.microsoft.com/office/drawing/2014/main" id="{602CF886-8B0A-FA4D-A9FF-BDD40F106EC6}"/>
                </a:ext>
              </a:extLst>
            </p:cNvPr>
            <p:cNvCxnSpPr>
              <a:cxnSpLocks/>
            </p:cNvCxnSpPr>
            <p:nvPr/>
          </p:nvCxnSpPr>
          <p:spPr>
            <a:xfrm>
              <a:off x="9216320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5F64E8F6-596B-D645-BA5E-0F750F1E3BD7}"/>
                </a:ext>
              </a:extLst>
            </p:cNvPr>
            <p:cNvCxnSpPr>
              <a:cxnSpLocks/>
            </p:cNvCxnSpPr>
            <p:nvPr/>
          </p:nvCxnSpPr>
          <p:spPr>
            <a:xfrm>
              <a:off x="9840384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>
              <a:extLst>
                <a:ext uri="{FF2B5EF4-FFF2-40B4-BE49-F238E27FC236}">
                  <a16:creationId xmlns:a16="http://schemas.microsoft.com/office/drawing/2014/main" id="{9F42A318-C2C5-5B49-B888-3C1D9B973ACA}"/>
                </a:ext>
              </a:extLst>
            </p:cNvPr>
            <p:cNvCxnSpPr>
              <a:cxnSpLocks/>
            </p:cNvCxnSpPr>
            <p:nvPr/>
          </p:nvCxnSpPr>
          <p:spPr>
            <a:xfrm>
              <a:off x="10464448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>
              <a:extLst>
                <a:ext uri="{FF2B5EF4-FFF2-40B4-BE49-F238E27FC236}">
                  <a16:creationId xmlns:a16="http://schemas.microsoft.com/office/drawing/2014/main" id="{BE2C6C90-CB63-144D-9270-E2CF90080D92}"/>
                </a:ext>
              </a:extLst>
            </p:cNvPr>
            <p:cNvCxnSpPr>
              <a:cxnSpLocks/>
            </p:cNvCxnSpPr>
            <p:nvPr/>
          </p:nvCxnSpPr>
          <p:spPr>
            <a:xfrm>
              <a:off x="11088512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>
              <a:extLst>
                <a:ext uri="{FF2B5EF4-FFF2-40B4-BE49-F238E27FC236}">
                  <a16:creationId xmlns:a16="http://schemas.microsoft.com/office/drawing/2014/main" id="{BEE2A52C-14B5-4E49-8B3D-275EF7EE9F14}"/>
                </a:ext>
              </a:extLst>
            </p:cNvPr>
            <p:cNvCxnSpPr>
              <a:cxnSpLocks/>
            </p:cNvCxnSpPr>
            <p:nvPr/>
          </p:nvCxnSpPr>
          <p:spPr>
            <a:xfrm>
              <a:off x="11712575" y="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A085A00-C55A-FF48-AFBF-5047FF54DB0F}"/>
              </a:ext>
            </a:extLst>
          </p:cNvPr>
          <p:cNvGrpSpPr/>
          <p:nvPr userDrawn="1"/>
        </p:nvGrpSpPr>
        <p:grpSpPr>
          <a:xfrm rot="10800000">
            <a:off x="-1" y="3748630"/>
            <a:ext cx="6092715" cy="3098421"/>
            <a:chOff x="6099284" y="3120319"/>
            <a:chExt cx="6858000" cy="3098421"/>
          </a:xfrm>
        </p:grpSpPr>
        <p:cxnSp>
          <p:nvCxnSpPr>
            <p:cNvPr id="19" name="Gerade Verbindung 18">
              <a:extLst>
                <a:ext uri="{FF2B5EF4-FFF2-40B4-BE49-F238E27FC236}">
                  <a16:creationId xmlns:a16="http://schemas.microsoft.com/office/drawing/2014/main" id="{56488928-1D3F-BD4E-8D31-45EBAA6267A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528284" y="2187575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>
              <a:extLst>
                <a:ext uri="{FF2B5EF4-FFF2-40B4-BE49-F238E27FC236}">
                  <a16:creationId xmlns:a16="http://schemas.microsoft.com/office/drawing/2014/main" id="{5E5F734D-07EF-7B4B-9C98-C386549007F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528284" y="1563511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DEAA3399-BD96-474A-9146-5B578BBDC3A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528284" y="939447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46E88364-B6D8-BB4C-9D9B-5BFD85473EB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528284" y="315383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0E56ABAC-E443-0040-AF6A-F3065CC375F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528284" y="-308681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9BFFED03-3A4F-3248-8AE6-1B7A779387E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528284" y="2789740"/>
              <a:ext cx="0" cy="6858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5499FC68-26F8-5E46-891B-3D841640873B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DBFFC0CF-F63F-FA4B-AE98-DB9AAB410E65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0" cy="342900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7D3CEF4F-A6BD-9341-898F-2164075C84F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79424" y="324569"/>
            <a:ext cx="9796690" cy="337183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6F275E3F-3A1C-874B-9931-96F8FB46CE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61026" y="3748630"/>
            <a:ext cx="5157787" cy="2773118"/>
          </a:xfrm>
        </p:spPr>
        <p:txBody>
          <a:bodyPr l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69795F43-5F37-5B4E-BC38-B13804102C6B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97" name="Grafik 2">
              <a:extLst>
                <a:ext uri="{FF2B5EF4-FFF2-40B4-BE49-F238E27FC236}">
                  <a16:creationId xmlns:a16="http://schemas.microsoft.com/office/drawing/2014/main" id="{65FE4BF2-5ED1-604F-8632-24428A484C29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08" name="Freihandform 107">
                <a:extLst>
                  <a:ext uri="{FF2B5EF4-FFF2-40B4-BE49-F238E27FC236}">
                    <a16:creationId xmlns:a16="http://schemas.microsoft.com/office/drawing/2014/main" id="{DD8D0E75-C4AA-164A-9A33-0B46EBD4BA50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" name="Freihandform 108">
                <a:extLst>
                  <a:ext uri="{FF2B5EF4-FFF2-40B4-BE49-F238E27FC236}">
                    <a16:creationId xmlns:a16="http://schemas.microsoft.com/office/drawing/2014/main" id="{941A03EB-1072-634C-A484-48CA65817866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Freihandform 109">
                <a:extLst>
                  <a:ext uri="{FF2B5EF4-FFF2-40B4-BE49-F238E27FC236}">
                    <a16:creationId xmlns:a16="http://schemas.microsoft.com/office/drawing/2014/main" id="{58866A2C-D4E7-9B4D-A160-DEAD6B510646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Freihandform 110">
                <a:extLst>
                  <a:ext uri="{FF2B5EF4-FFF2-40B4-BE49-F238E27FC236}">
                    <a16:creationId xmlns:a16="http://schemas.microsoft.com/office/drawing/2014/main" id="{14C896E0-29B4-7343-98F3-6FDA5D472787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Freihandform 111">
                <a:extLst>
                  <a:ext uri="{FF2B5EF4-FFF2-40B4-BE49-F238E27FC236}">
                    <a16:creationId xmlns:a16="http://schemas.microsoft.com/office/drawing/2014/main" id="{809E628E-A4B0-C342-98AA-8A2F438CA099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Freihandform 112">
                <a:extLst>
                  <a:ext uri="{FF2B5EF4-FFF2-40B4-BE49-F238E27FC236}">
                    <a16:creationId xmlns:a16="http://schemas.microsoft.com/office/drawing/2014/main" id="{4AD02B4E-46F0-104C-BF20-434515519957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4" name="Freihandform 113">
                <a:extLst>
                  <a:ext uri="{FF2B5EF4-FFF2-40B4-BE49-F238E27FC236}">
                    <a16:creationId xmlns:a16="http://schemas.microsoft.com/office/drawing/2014/main" id="{FED508F5-FB1F-7B4C-BEFB-6CC4711BF0A5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5" name="Freihandform 114">
                <a:extLst>
                  <a:ext uri="{FF2B5EF4-FFF2-40B4-BE49-F238E27FC236}">
                    <a16:creationId xmlns:a16="http://schemas.microsoft.com/office/drawing/2014/main" id="{FAFE8D36-20C0-B44C-86FC-A81924916713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6" name="Freihandform 115">
                <a:extLst>
                  <a:ext uri="{FF2B5EF4-FFF2-40B4-BE49-F238E27FC236}">
                    <a16:creationId xmlns:a16="http://schemas.microsoft.com/office/drawing/2014/main" id="{D286C3BE-73AB-4745-924C-90AAC96BEB3F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8" name="Grafik 2">
              <a:extLst>
                <a:ext uri="{FF2B5EF4-FFF2-40B4-BE49-F238E27FC236}">
                  <a16:creationId xmlns:a16="http://schemas.microsoft.com/office/drawing/2014/main" id="{148DDA50-E878-A845-A2F7-48F60149DB67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99" name="Freihandform 98">
                <a:extLst>
                  <a:ext uri="{FF2B5EF4-FFF2-40B4-BE49-F238E27FC236}">
                    <a16:creationId xmlns:a16="http://schemas.microsoft.com/office/drawing/2014/main" id="{373DE2D5-0068-AE40-9D32-600624CDC405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 99">
                <a:extLst>
                  <a:ext uri="{FF2B5EF4-FFF2-40B4-BE49-F238E27FC236}">
                    <a16:creationId xmlns:a16="http://schemas.microsoft.com/office/drawing/2014/main" id="{70B6D3C4-5E8B-2D4D-BC95-B3CF4DB8333C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 100">
                <a:extLst>
                  <a:ext uri="{FF2B5EF4-FFF2-40B4-BE49-F238E27FC236}">
                    <a16:creationId xmlns:a16="http://schemas.microsoft.com/office/drawing/2014/main" id="{CA75DDC8-16FF-044A-B270-A8E8D6C0B2A2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550868B4-45F9-D043-9657-0C43EC984E3D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 102">
                <a:extLst>
                  <a:ext uri="{FF2B5EF4-FFF2-40B4-BE49-F238E27FC236}">
                    <a16:creationId xmlns:a16="http://schemas.microsoft.com/office/drawing/2014/main" id="{83D7BA7D-04B5-8141-AD32-97AE427AE36D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" name="Freihandform 103">
                <a:extLst>
                  <a:ext uri="{FF2B5EF4-FFF2-40B4-BE49-F238E27FC236}">
                    <a16:creationId xmlns:a16="http://schemas.microsoft.com/office/drawing/2014/main" id="{FE48AD59-6093-2F4B-A824-55F70E053295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" name="Freihandform 104">
                <a:extLst>
                  <a:ext uri="{FF2B5EF4-FFF2-40B4-BE49-F238E27FC236}">
                    <a16:creationId xmlns:a16="http://schemas.microsoft.com/office/drawing/2014/main" id="{A58E4282-1C81-CB41-9AAB-A56EDCED37D4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" name="Freihandform 105">
                <a:extLst>
                  <a:ext uri="{FF2B5EF4-FFF2-40B4-BE49-F238E27FC236}">
                    <a16:creationId xmlns:a16="http://schemas.microsoft.com/office/drawing/2014/main" id="{D3E38C6F-B661-584C-B1D4-C057BF8937D7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" name="Freihandform 106">
                <a:extLst>
                  <a:ext uri="{FF2B5EF4-FFF2-40B4-BE49-F238E27FC236}">
                    <a16:creationId xmlns:a16="http://schemas.microsoft.com/office/drawing/2014/main" id="{D7BD782C-BD57-7F4C-8552-2CF3BA0E7A7F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6596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 mi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24570"/>
            <a:ext cx="10284370" cy="36512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71EF321C-746D-8C4F-B1BC-DB85F6D375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77870" y="2244022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7A21791B-C695-364C-8E7A-92AEE7D708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2" y="22438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71A421D-64D3-0F41-8E3A-618FEEBAC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63" y="324570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7" name="Bildplatzhalter 34">
            <a:extLst>
              <a:ext uri="{FF2B5EF4-FFF2-40B4-BE49-F238E27FC236}">
                <a16:creationId xmlns:a16="http://schemas.microsoft.com/office/drawing/2014/main" id="{5B52519B-F0AD-E848-9590-9C3EC6FEB6C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9422" y="31582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49" name="Bildplatzhalter 34">
            <a:extLst>
              <a:ext uri="{FF2B5EF4-FFF2-40B4-BE49-F238E27FC236}">
                <a16:creationId xmlns:a16="http://schemas.microsoft.com/office/drawing/2014/main" id="{67A8117A-8C77-834B-99CD-79FACFDF931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9422" y="40726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51" name="Bildplatzhalter 34">
            <a:extLst>
              <a:ext uri="{FF2B5EF4-FFF2-40B4-BE49-F238E27FC236}">
                <a16:creationId xmlns:a16="http://schemas.microsoft.com/office/drawing/2014/main" id="{7AC61291-6AAE-3A4A-83FD-768FAD8D85E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2" y="49870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75" name="Bildplatzhalter 34">
            <a:extLst>
              <a:ext uri="{FF2B5EF4-FFF2-40B4-BE49-F238E27FC236}">
                <a16:creationId xmlns:a16="http://schemas.microsoft.com/office/drawing/2014/main" id="{A1573AAE-5CAB-3047-A6B7-50DFC20113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564315" y="22438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77" name="Bildplatzhalter 34">
            <a:extLst>
              <a:ext uri="{FF2B5EF4-FFF2-40B4-BE49-F238E27FC236}">
                <a16:creationId xmlns:a16="http://schemas.microsoft.com/office/drawing/2014/main" id="{F9975BDE-3A52-9840-8DA7-60763CB672F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564315" y="31582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79" name="Bildplatzhalter 34">
            <a:extLst>
              <a:ext uri="{FF2B5EF4-FFF2-40B4-BE49-F238E27FC236}">
                <a16:creationId xmlns:a16="http://schemas.microsoft.com/office/drawing/2014/main" id="{0CBE7DC6-7788-2146-8A80-A5F20EEA351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564315" y="40726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1" name="Bildplatzhalter 34">
            <a:extLst>
              <a:ext uri="{FF2B5EF4-FFF2-40B4-BE49-F238E27FC236}">
                <a16:creationId xmlns:a16="http://schemas.microsoft.com/office/drawing/2014/main" id="{882D3207-A852-604C-95C3-BDEDD36F3C1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564315" y="4987083"/>
            <a:ext cx="546738" cy="67741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6" name="Titel 1">
            <a:extLst>
              <a:ext uri="{FF2B5EF4-FFF2-40B4-BE49-F238E27FC236}">
                <a16:creationId xmlns:a16="http://schemas.microsoft.com/office/drawing/2014/main" id="{42CE621D-8EAA-4E4F-B37D-778B3DE48F1C}"/>
              </a:ext>
            </a:extLst>
          </p:cNvPr>
          <p:cNvSpPr txBox="1">
            <a:spLocks/>
          </p:cNvSpPr>
          <p:nvPr userDrawn="1"/>
        </p:nvSpPr>
        <p:spPr>
          <a:xfrm>
            <a:off x="-10772052" y="1057217"/>
            <a:ext cx="11233146" cy="548064"/>
          </a:xfrm>
          <a:prstGeom prst="rect">
            <a:avLst/>
          </a:prstGeom>
        </p:spPr>
        <p:txBody>
          <a:bodyPr vert="horz" lIns="0" tIns="0" rIns="91440" bIns="45720" rtlCol="0" anchor="t">
            <a:normAutofit/>
          </a:bodyPr>
          <a:lstStyle>
            <a:lvl1pPr marL="793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3800" b="1" kern="1200">
                <a:solidFill>
                  <a:schemeClr val="accent2"/>
                </a:solidFill>
                <a:latin typeface="PP Telegraf" pitchFamily="2" charset="77"/>
                <a:ea typeface="+mj-ea"/>
                <a:cs typeface="+mj-cs"/>
              </a:defRPr>
            </a:lvl1pPr>
          </a:lstStyle>
          <a:p>
            <a:r>
              <a:rPr lang="de-DE" sz="2000" u="sng">
                <a:solidFill>
                  <a:schemeClr val="tx2"/>
                </a:solidFill>
              </a:rPr>
              <a:t>Mastertitelformat bearbeiten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23C0E9C0-7DB2-684F-99A2-F3F2C824ED26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3838935A-067B-5942-8C1B-5FC15F030759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1177870" y="3158422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7" name="Textplatzhalter 2">
            <a:extLst>
              <a:ext uri="{FF2B5EF4-FFF2-40B4-BE49-F238E27FC236}">
                <a16:creationId xmlns:a16="http://schemas.microsoft.com/office/drawing/2014/main" id="{B2E9126B-2D87-A243-9978-6A351467B8ED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1177870" y="4072683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8" name="Textplatzhalter 2">
            <a:extLst>
              <a:ext uri="{FF2B5EF4-FFF2-40B4-BE49-F238E27FC236}">
                <a16:creationId xmlns:a16="http://schemas.microsoft.com/office/drawing/2014/main" id="{CFA56C78-0E9B-6A47-B5C1-66795B8A51E5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1177870" y="4987083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9" name="Textplatzhalter 2">
            <a:extLst>
              <a:ext uri="{FF2B5EF4-FFF2-40B4-BE49-F238E27FC236}">
                <a16:creationId xmlns:a16="http://schemas.microsoft.com/office/drawing/2014/main" id="{A8ABE5D8-AB01-7649-8996-88267B48A367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7266943" y="2244022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71741AC8-B917-FA4D-9475-B48C91DFCCEA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7266943" y="3158422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7F668D2D-215F-4E4C-8D7E-D6B9F066276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7266943" y="4072683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D4B586E4-9652-DE45-9C51-E4497B1477E2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7266943" y="4987083"/>
            <a:ext cx="4449817" cy="677410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880E7CA1-53FB-1A40-A743-ACC485A0E92A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35" name="Grafik 2">
              <a:extLst>
                <a:ext uri="{FF2B5EF4-FFF2-40B4-BE49-F238E27FC236}">
                  <a16:creationId xmlns:a16="http://schemas.microsoft.com/office/drawing/2014/main" id="{744CCEF0-BF55-E345-9C5D-AFD83BF876ED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AF620B5D-F995-3E47-B638-323A75918D3F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38E6F064-662F-C04A-959D-8B0D583E735C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3AC3A5F7-DE13-F14F-A9F2-05169F01B047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ABB9AE6-DB25-484E-85D7-BDF920C1E676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BB717984-60F1-D54F-B73D-9FD0257E6D3C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0AD6238C-99D7-A54D-9FB9-6064CEC5214C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3EF13E82-C420-3B42-A482-92C828AEFC3A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53F51C26-0C3C-D441-9231-06B5871439E3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B1BCAD60-9857-A849-8CAD-33F2AF174294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6" name="Grafik 2">
              <a:extLst>
                <a:ext uri="{FF2B5EF4-FFF2-40B4-BE49-F238E27FC236}">
                  <a16:creationId xmlns:a16="http://schemas.microsoft.com/office/drawing/2014/main" id="{D1ABF43A-EC2C-194A-9B34-5F140AF415E5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DE294545-040F-F747-AF77-4CC65203BE4B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811EDC5B-BCC0-C649-A9F6-78478D7C7A2B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CDAE9167-A95E-9745-952D-D366284883BB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6F9E2CB5-68B5-6F4D-9DFE-8BFB50FBEA48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F92AEC97-4C86-EE4F-B825-6A5351549582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49B631DB-1E57-A144-9E11-F6CF28FAA46E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Freihandform 142">
                <a:extLst>
                  <a:ext uri="{FF2B5EF4-FFF2-40B4-BE49-F238E27FC236}">
                    <a16:creationId xmlns:a16="http://schemas.microsoft.com/office/drawing/2014/main" id="{25A3EEE5-BBC6-0E41-AABE-976DFFA42ED2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A8F73179-EC91-DB49-ACFE-CA1AE25950DD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847601EE-BA4B-9F43-AE2E-67FFCD5EC87B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56" name="Textplatzhalter 2">
            <a:extLst>
              <a:ext uri="{FF2B5EF4-FFF2-40B4-BE49-F238E27FC236}">
                <a16:creationId xmlns:a16="http://schemas.microsoft.com/office/drawing/2014/main" id="{3B1901BE-214B-6D4A-B68B-A37E4A1D4C8A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336000"/>
            <a:ext cx="9631767" cy="222711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642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  <p15:guide id="2" pos="7378" userDrawn="1">
          <p15:clr>
            <a:srgbClr val="FBAE40"/>
          </p15:clr>
        </p15:guide>
        <p15:guide id="3" pos="30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 mi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CF348EB-A1D5-3F4F-A978-B6E3B412129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9424" y="324569"/>
            <a:ext cx="10458542" cy="365125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7A21791B-C695-364C-8E7A-92AEE7D708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2" y="2243883"/>
            <a:ext cx="546738" cy="548064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43" name="Bildplatzhalter 34">
            <a:extLst>
              <a:ext uri="{FF2B5EF4-FFF2-40B4-BE49-F238E27FC236}">
                <a16:creationId xmlns:a16="http://schemas.microsoft.com/office/drawing/2014/main" id="{D53FF506-BC83-E740-9F21-0D930F9EAB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9422" y="3023663"/>
            <a:ext cx="546738" cy="548064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52" name="Bildplatzhalter 34">
            <a:extLst>
              <a:ext uri="{FF2B5EF4-FFF2-40B4-BE49-F238E27FC236}">
                <a16:creationId xmlns:a16="http://schemas.microsoft.com/office/drawing/2014/main" id="{75471327-45AA-7C4F-B278-53BF56B38F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9422" y="3803443"/>
            <a:ext cx="546738" cy="548064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3" name="Bildplatzhalter 34">
            <a:extLst>
              <a:ext uri="{FF2B5EF4-FFF2-40B4-BE49-F238E27FC236}">
                <a16:creationId xmlns:a16="http://schemas.microsoft.com/office/drawing/2014/main" id="{823D20FC-4D70-1F49-8E89-9ED84049E77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2" y="4583223"/>
            <a:ext cx="546738" cy="548064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5" name="Bildplatzhalter 34">
            <a:extLst>
              <a:ext uri="{FF2B5EF4-FFF2-40B4-BE49-F238E27FC236}">
                <a16:creationId xmlns:a16="http://schemas.microsoft.com/office/drawing/2014/main" id="{BB2296B8-9EA7-2843-B6EE-AAFC650CAE5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79422" y="5363003"/>
            <a:ext cx="546738" cy="548064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87" name="Foliennummernplatzhalter 44">
            <a:extLst>
              <a:ext uri="{FF2B5EF4-FFF2-40B4-BE49-F238E27FC236}">
                <a16:creationId xmlns:a16="http://schemas.microsoft.com/office/drawing/2014/main" id="{31E6C253-BDE5-8146-82D0-08A9DD1D46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2463" y="324570"/>
            <a:ext cx="670112" cy="365125"/>
          </a:xfrm>
        </p:spPr>
        <p:txBody>
          <a:bodyPr lIns="90000" tIns="0" rIns="0" bIns="0" anchor="t"/>
          <a:lstStyle>
            <a:lvl1pPr>
              <a:defRPr>
                <a:solidFill>
                  <a:schemeClr val="accent2"/>
                </a:solidFill>
                <a:latin typeface="PP Telegraf" pitchFamily="2" charset="77"/>
              </a:defRPr>
            </a:lvl1pPr>
          </a:lstStyle>
          <a:p>
            <a:fld id="{88DCECEA-888C-F446-979B-47B1FBF9BCE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3D8FC9E6-8179-184D-86A6-2C1B689095D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79424" y="1057217"/>
            <a:ext cx="11229019" cy="548064"/>
          </a:xfrm>
        </p:spPr>
        <p:txBody>
          <a:bodyPr lIns="0" tIns="0" anchor="t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AF5C5E5C-4A1F-5549-ABDB-86B86D6501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77870" y="2244022"/>
            <a:ext cx="10534705" cy="57826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A374607-B5AD-F444-9BE9-140777F32EB2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1177870" y="5363003"/>
            <a:ext cx="10534705" cy="57826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CC7A735E-3061-C54C-A3CD-10A441770663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1177870" y="4583257"/>
            <a:ext cx="10534705" cy="57826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76062ADF-88DB-7B4F-9E46-33DAA59A7BE5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1177870" y="3803512"/>
            <a:ext cx="10534705" cy="57826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B49F106E-EE97-734F-9C63-28A91513CA3E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1177870" y="3023767"/>
            <a:ext cx="10534705" cy="578266"/>
          </a:xfrm>
        </p:spPr>
        <p:txBody>
          <a:bodyPr lIns="0" tIns="0" rIns="0">
            <a:noAutofit/>
          </a:bodyPr>
          <a:lstStyle>
            <a:lvl1pPr marL="0" indent="0">
              <a:lnSpc>
                <a:spcPts val="155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C6FD0D3B-CFFB-1944-8385-EF18179B2382}"/>
              </a:ext>
            </a:extLst>
          </p:cNvPr>
          <p:cNvGrpSpPr/>
          <p:nvPr userDrawn="1"/>
        </p:nvGrpSpPr>
        <p:grpSpPr>
          <a:xfrm>
            <a:off x="479422" y="6290519"/>
            <a:ext cx="1151999" cy="234529"/>
            <a:chOff x="479422" y="6290519"/>
            <a:chExt cx="1151999" cy="234529"/>
          </a:xfrm>
        </p:grpSpPr>
        <p:grpSp>
          <p:nvGrpSpPr>
            <p:cNvPr id="118" name="Grafik 2">
              <a:extLst>
                <a:ext uri="{FF2B5EF4-FFF2-40B4-BE49-F238E27FC236}">
                  <a16:creationId xmlns:a16="http://schemas.microsoft.com/office/drawing/2014/main" id="{A352AD47-715A-8C45-9C35-38F5717B45D6}"/>
                </a:ext>
              </a:extLst>
            </p:cNvPr>
            <p:cNvGrpSpPr/>
            <p:nvPr userDrawn="1"/>
          </p:nvGrpSpPr>
          <p:grpSpPr>
            <a:xfrm>
              <a:off x="484254" y="6290519"/>
              <a:ext cx="1020471" cy="110350"/>
              <a:chOff x="486546" y="6178545"/>
              <a:chExt cx="1503665" cy="162600"/>
            </a:xfrm>
            <a:solidFill>
              <a:schemeClr val="accent2"/>
            </a:solidFill>
          </p:grpSpPr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2A84ABFA-7454-B045-801C-8776D752148D}"/>
                  </a:ext>
                </a:extLst>
              </p:cNvPr>
              <p:cNvSpPr/>
              <p:nvPr/>
            </p:nvSpPr>
            <p:spPr>
              <a:xfrm>
                <a:off x="486546" y="6205043"/>
                <a:ext cx="222294" cy="131502"/>
              </a:xfrm>
              <a:custGeom>
                <a:avLst/>
                <a:gdLst>
                  <a:gd name="connsiteX0" fmla="*/ 222294 w 222294"/>
                  <a:gd name="connsiteY0" fmla="*/ 54028 h 131502"/>
                  <a:gd name="connsiteX1" fmla="*/ 222294 w 222294"/>
                  <a:gd name="connsiteY1" fmla="*/ 131503 h 131502"/>
                  <a:gd name="connsiteX2" fmla="*/ 178548 w 222294"/>
                  <a:gd name="connsiteY2" fmla="*/ 131503 h 131502"/>
                  <a:gd name="connsiteX3" fmla="*/ 178548 w 222294"/>
                  <a:gd name="connsiteY3" fmla="*/ 60654 h 131502"/>
                  <a:gd name="connsiteX4" fmla="*/ 157692 w 222294"/>
                  <a:gd name="connsiteY4" fmla="*/ 35169 h 131502"/>
                  <a:gd name="connsiteX5" fmla="*/ 132257 w 222294"/>
                  <a:gd name="connsiteY5" fmla="*/ 71358 h 131502"/>
                  <a:gd name="connsiteX6" fmla="*/ 132257 w 222294"/>
                  <a:gd name="connsiteY6" fmla="*/ 131503 h 131502"/>
                  <a:gd name="connsiteX7" fmla="*/ 89528 w 222294"/>
                  <a:gd name="connsiteY7" fmla="*/ 131503 h 131502"/>
                  <a:gd name="connsiteX8" fmla="*/ 89528 w 222294"/>
                  <a:gd name="connsiteY8" fmla="*/ 60654 h 131502"/>
                  <a:gd name="connsiteX9" fmla="*/ 68672 w 222294"/>
                  <a:gd name="connsiteY9" fmla="*/ 35169 h 131502"/>
                  <a:gd name="connsiteX10" fmla="*/ 43238 w 222294"/>
                  <a:gd name="connsiteY10" fmla="*/ 71358 h 131502"/>
                  <a:gd name="connsiteX11" fmla="*/ 43238 w 222294"/>
                  <a:gd name="connsiteY11" fmla="*/ 131503 h 131502"/>
                  <a:gd name="connsiteX12" fmla="*/ 0 w 222294"/>
                  <a:gd name="connsiteY12" fmla="*/ 131503 h 131502"/>
                  <a:gd name="connsiteX13" fmla="*/ 0 w 222294"/>
                  <a:gd name="connsiteY13" fmla="*/ 4078 h 131502"/>
                  <a:gd name="connsiteX14" fmla="*/ 43747 w 222294"/>
                  <a:gd name="connsiteY14" fmla="*/ 4078 h 131502"/>
                  <a:gd name="connsiteX15" fmla="*/ 43747 w 222294"/>
                  <a:gd name="connsiteY15" fmla="*/ 25995 h 131502"/>
                  <a:gd name="connsiteX16" fmla="*/ 86985 w 222294"/>
                  <a:gd name="connsiteY16" fmla="*/ 0 h 131502"/>
                  <a:gd name="connsiteX17" fmla="*/ 128697 w 222294"/>
                  <a:gd name="connsiteY17" fmla="*/ 28543 h 131502"/>
                  <a:gd name="connsiteX18" fmla="*/ 173969 w 222294"/>
                  <a:gd name="connsiteY18" fmla="*/ 0 h 131502"/>
                  <a:gd name="connsiteX19" fmla="*/ 222294 w 222294"/>
                  <a:gd name="connsiteY19" fmla="*/ 54028 h 13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2294" h="131502">
                    <a:moveTo>
                      <a:pt x="222294" y="54028"/>
                    </a:moveTo>
                    <a:lnTo>
                      <a:pt x="222294" y="131503"/>
                    </a:lnTo>
                    <a:lnTo>
                      <a:pt x="178548" y="131503"/>
                    </a:lnTo>
                    <a:lnTo>
                      <a:pt x="178548" y="60654"/>
                    </a:lnTo>
                    <a:cubicBezTo>
                      <a:pt x="178548" y="44344"/>
                      <a:pt x="172443" y="35169"/>
                      <a:pt x="157692" y="35169"/>
                    </a:cubicBezTo>
                    <a:cubicBezTo>
                      <a:pt x="140396" y="35169"/>
                      <a:pt x="132257" y="46383"/>
                      <a:pt x="132257" y="71358"/>
                    </a:cubicBezTo>
                    <a:lnTo>
                      <a:pt x="132257" y="131503"/>
                    </a:lnTo>
                    <a:lnTo>
                      <a:pt x="89528" y="131503"/>
                    </a:lnTo>
                    <a:lnTo>
                      <a:pt x="89528" y="60654"/>
                    </a:lnTo>
                    <a:cubicBezTo>
                      <a:pt x="89528" y="44344"/>
                      <a:pt x="83424" y="35169"/>
                      <a:pt x="68672" y="35169"/>
                    </a:cubicBezTo>
                    <a:cubicBezTo>
                      <a:pt x="51886" y="35169"/>
                      <a:pt x="43238" y="46383"/>
                      <a:pt x="43238" y="71358"/>
                    </a:cubicBezTo>
                    <a:lnTo>
                      <a:pt x="43238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43747" y="4078"/>
                    </a:lnTo>
                    <a:lnTo>
                      <a:pt x="43747" y="25995"/>
                    </a:lnTo>
                    <a:cubicBezTo>
                      <a:pt x="51886" y="10194"/>
                      <a:pt x="65111" y="0"/>
                      <a:pt x="86985" y="0"/>
                    </a:cubicBezTo>
                    <a:cubicBezTo>
                      <a:pt x="108858" y="0"/>
                      <a:pt x="122592" y="10704"/>
                      <a:pt x="128697" y="28543"/>
                    </a:cubicBezTo>
                    <a:cubicBezTo>
                      <a:pt x="136836" y="11213"/>
                      <a:pt x="150570" y="0"/>
                      <a:pt x="173969" y="0"/>
                    </a:cubicBezTo>
                    <a:cubicBezTo>
                      <a:pt x="207034" y="0"/>
                      <a:pt x="222294" y="20898"/>
                      <a:pt x="222294" y="5402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CD0F2881-4A0B-DD42-A1EF-F9172D1E53CD}"/>
                  </a:ext>
                </a:extLst>
              </p:cNvPr>
              <p:cNvSpPr/>
              <p:nvPr/>
            </p:nvSpPr>
            <p:spPr>
              <a:xfrm>
                <a:off x="729188" y="6205043"/>
                <a:ext cx="129713" cy="135580"/>
              </a:xfrm>
              <a:custGeom>
                <a:avLst/>
                <a:gdLst>
                  <a:gd name="connsiteX0" fmla="*/ 0 w 129713"/>
                  <a:gd name="connsiteY0" fmla="*/ 97862 h 135580"/>
                  <a:gd name="connsiteX1" fmla="*/ 43238 w 129713"/>
                  <a:gd name="connsiteY1" fmla="*/ 58106 h 135580"/>
                  <a:gd name="connsiteX2" fmla="*/ 72233 w 129713"/>
                  <a:gd name="connsiteY2" fmla="*/ 53009 h 135580"/>
                  <a:gd name="connsiteX3" fmla="*/ 86985 w 129713"/>
                  <a:gd name="connsiteY3" fmla="*/ 41286 h 135580"/>
                  <a:gd name="connsiteX4" fmla="*/ 67655 w 129713"/>
                  <a:gd name="connsiteY4" fmla="*/ 29053 h 135580"/>
                  <a:gd name="connsiteX5" fmla="*/ 44764 w 129713"/>
                  <a:gd name="connsiteY5" fmla="*/ 46383 h 135580"/>
                  <a:gd name="connsiteX6" fmla="*/ 2035 w 129713"/>
                  <a:gd name="connsiteY6" fmla="*/ 46383 h 135580"/>
                  <a:gd name="connsiteX7" fmla="*/ 67146 w 129713"/>
                  <a:gd name="connsiteY7" fmla="*/ 0 h 135580"/>
                  <a:gd name="connsiteX8" fmla="*/ 127171 w 129713"/>
                  <a:gd name="connsiteY8" fmla="*/ 45873 h 135580"/>
                  <a:gd name="connsiteX9" fmla="*/ 127171 w 129713"/>
                  <a:gd name="connsiteY9" fmla="*/ 96843 h 135580"/>
                  <a:gd name="connsiteX10" fmla="*/ 129714 w 129713"/>
                  <a:gd name="connsiteY10" fmla="*/ 132012 h 135580"/>
                  <a:gd name="connsiteX11" fmla="*/ 92071 w 129713"/>
                  <a:gd name="connsiteY11" fmla="*/ 132012 h 135580"/>
                  <a:gd name="connsiteX12" fmla="*/ 90037 w 129713"/>
                  <a:gd name="connsiteY12" fmla="*/ 105508 h 135580"/>
                  <a:gd name="connsiteX13" fmla="*/ 42221 w 129713"/>
                  <a:gd name="connsiteY13" fmla="*/ 135580 h 135580"/>
                  <a:gd name="connsiteX14" fmla="*/ 0 w 129713"/>
                  <a:gd name="connsiteY14" fmla="*/ 97862 h 135580"/>
                  <a:gd name="connsiteX15" fmla="*/ 86985 w 129713"/>
                  <a:gd name="connsiteY15" fmla="*/ 71868 h 135580"/>
                  <a:gd name="connsiteX16" fmla="*/ 86985 w 129713"/>
                  <a:gd name="connsiteY16" fmla="*/ 66771 h 135580"/>
                  <a:gd name="connsiteX17" fmla="*/ 67146 w 129713"/>
                  <a:gd name="connsiteY17" fmla="*/ 74926 h 135580"/>
                  <a:gd name="connsiteX18" fmla="*/ 59516 w 129713"/>
                  <a:gd name="connsiteY18" fmla="*/ 76455 h 135580"/>
                  <a:gd name="connsiteX19" fmla="*/ 42729 w 129713"/>
                  <a:gd name="connsiteY19" fmla="*/ 92765 h 135580"/>
                  <a:gd name="connsiteX20" fmla="*/ 58498 w 129713"/>
                  <a:gd name="connsiteY20" fmla="*/ 106527 h 135580"/>
                  <a:gd name="connsiteX21" fmla="*/ 86985 w 129713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9713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035" y="46383"/>
                    </a:lnTo>
                    <a:cubicBezTo>
                      <a:pt x="3052" y="19369"/>
                      <a:pt x="26451" y="0"/>
                      <a:pt x="67146" y="0"/>
                    </a:cubicBezTo>
                    <a:cubicBezTo>
                      <a:pt x="107332" y="0"/>
                      <a:pt x="127171" y="16310"/>
                      <a:pt x="127171" y="45873"/>
                    </a:cubicBezTo>
                    <a:lnTo>
                      <a:pt x="127171" y="96843"/>
                    </a:lnTo>
                    <a:cubicBezTo>
                      <a:pt x="127171" y="110605"/>
                      <a:pt x="128188" y="121818"/>
                      <a:pt x="129714" y="132012"/>
                    </a:cubicBezTo>
                    <a:lnTo>
                      <a:pt x="92071" y="132012"/>
                    </a:lnTo>
                    <a:cubicBezTo>
                      <a:pt x="91054" y="124367"/>
                      <a:pt x="90037" y="115702"/>
                      <a:pt x="90037" y="105508"/>
                    </a:cubicBezTo>
                    <a:cubicBezTo>
                      <a:pt x="83933" y="124367"/>
                      <a:pt x="67655" y="135580"/>
                      <a:pt x="42221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1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2CFAD76C-6DC5-7C46-9519-02E6AFDB03BC}"/>
                  </a:ext>
                </a:extLst>
              </p:cNvPr>
              <p:cNvSpPr/>
              <p:nvPr/>
            </p:nvSpPr>
            <p:spPr>
              <a:xfrm>
                <a:off x="869584" y="6178538"/>
                <a:ext cx="192790" cy="158516"/>
              </a:xfrm>
              <a:custGeom>
                <a:avLst/>
                <a:gdLst>
                  <a:gd name="connsiteX0" fmla="*/ 192791 w 192790"/>
                  <a:gd name="connsiteY0" fmla="*/ 63713 h 158516"/>
                  <a:gd name="connsiteX1" fmla="*/ 158200 w 192790"/>
                  <a:gd name="connsiteY1" fmla="*/ 63713 h 158516"/>
                  <a:gd name="connsiteX2" fmla="*/ 158200 w 192790"/>
                  <a:gd name="connsiteY2" fmla="*/ 123857 h 158516"/>
                  <a:gd name="connsiteX3" fmla="*/ 188721 w 192790"/>
                  <a:gd name="connsiteY3" fmla="*/ 123857 h 158516"/>
                  <a:gd name="connsiteX4" fmla="*/ 188721 w 192790"/>
                  <a:gd name="connsiteY4" fmla="*/ 158517 h 158516"/>
                  <a:gd name="connsiteX5" fmla="*/ 165322 w 192790"/>
                  <a:gd name="connsiteY5" fmla="*/ 158517 h 158516"/>
                  <a:gd name="connsiteX6" fmla="*/ 114454 w 192790"/>
                  <a:gd name="connsiteY6" fmla="*/ 108056 h 158516"/>
                  <a:gd name="connsiteX7" fmla="*/ 114454 w 192790"/>
                  <a:gd name="connsiteY7" fmla="*/ 61674 h 158516"/>
                  <a:gd name="connsiteX8" fmla="*/ 66637 w 192790"/>
                  <a:gd name="connsiteY8" fmla="*/ 61674 h 158516"/>
                  <a:gd name="connsiteX9" fmla="*/ 66637 w 192790"/>
                  <a:gd name="connsiteY9" fmla="*/ 123347 h 158516"/>
                  <a:gd name="connsiteX10" fmla="*/ 97158 w 192790"/>
                  <a:gd name="connsiteY10" fmla="*/ 123347 h 158516"/>
                  <a:gd name="connsiteX11" fmla="*/ 97158 w 192790"/>
                  <a:gd name="connsiteY11" fmla="*/ 158007 h 158516"/>
                  <a:gd name="connsiteX12" fmla="*/ 73759 w 192790"/>
                  <a:gd name="connsiteY12" fmla="*/ 158007 h 158516"/>
                  <a:gd name="connsiteX13" fmla="*/ 22382 w 192790"/>
                  <a:gd name="connsiteY13" fmla="*/ 107547 h 158516"/>
                  <a:gd name="connsiteX14" fmla="*/ 22382 w 192790"/>
                  <a:gd name="connsiteY14" fmla="*/ 63203 h 158516"/>
                  <a:gd name="connsiteX15" fmla="*/ 0 w 192790"/>
                  <a:gd name="connsiteY15" fmla="*/ 63203 h 158516"/>
                  <a:gd name="connsiteX16" fmla="*/ 0 w 192790"/>
                  <a:gd name="connsiteY16" fmla="*/ 42815 h 158516"/>
                  <a:gd name="connsiteX17" fmla="*/ 25943 w 192790"/>
                  <a:gd name="connsiteY17" fmla="*/ 31601 h 158516"/>
                  <a:gd name="connsiteX18" fmla="*/ 44255 w 192790"/>
                  <a:gd name="connsiteY18" fmla="*/ 0 h 158516"/>
                  <a:gd name="connsiteX19" fmla="*/ 66129 w 192790"/>
                  <a:gd name="connsiteY19" fmla="*/ 0 h 158516"/>
                  <a:gd name="connsiteX20" fmla="*/ 66129 w 192790"/>
                  <a:gd name="connsiteY20" fmla="*/ 30582 h 158516"/>
                  <a:gd name="connsiteX21" fmla="*/ 118523 w 192790"/>
                  <a:gd name="connsiteY21" fmla="*/ 30582 h 158516"/>
                  <a:gd name="connsiteX22" fmla="*/ 135818 w 192790"/>
                  <a:gd name="connsiteY22" fmla="*/ 0 h 158516"/>
                  <a:gd name="connsiteX23" fmla="*/ 158200 w 192790"/>
                  <a:gd name="connsiteY23" fmla="*/ 0 h 158516"/>
                  <a:gd name="connsiteX24" fmla="*/ 158200 w 192790"/>
                  <a:gd name="connsiteY24" fmla="*/ 30582 h 158516"/>
                  <a:gd name="connsiteX25" fmla="*/ 192791 w 192790"/>
                  <a:gd name="connsiteY25" fmla="*/ 30582 h 158516"/>
                  <a:gd name="connsiteX26" fmla="*/ 192791 w 192790"/>
                  <a:gd name="connsiteY26" fmla="*/ 63713 h 15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2790" h="158516">
                    <a:moveTo>
                      <a:pt x="192791" y="63713"/>
                    </a:moveTo>
                    <a:lnTo>
                      <a:pt x="158200" y="63713"/>
                    </a:lnTo>
                    <a:lnTo>
                      <a:pt x="158200" y="123857"/>
                    </a:lnTo>
                    <a:lnTo>
                      <a:pt x="188721" y="123857"/>
                    </a:lnTo>
                    <a:lnTo>
                      <a:pt x="188721" y="158517"/>
                    </a:lnTo>
                    <a:lnTo>
                      <a:pt x="165322" y="158517"/>
                    </a:lnTo>
                    <a:cubicBezTo>
                      <a:pt x="126153" y="158517"/>
                      <a:pt x="114454" y="141187"/>
                      <a:pt x="114454" y="108056"/>
                    </a:cubicBezTo>
                    <a:lnTo>
                      <a:pt x="114454" y="61674"/>
                    </a:lnTo>
                    <a:lnTo>
                      <a:pt x="66637" y="61674"/>
                    </a:lnTo>
                    <a:lnTo>
                      <a:pt x="66637" y="123347"/>
                    </a:lnTo>
                    <a:lnTo>
                      <a:pt x="97158" y="123347"/>
                    </a:lnTo>
                    <a:lnTo>
                      <a:pt x="97158" y="158007"/>
                    </a:lnTo>
                    <a:lnTo>
                      <a:pt x="73759" y="158007"/>
                    </a:lnTo>
                    <a:cubicBezTo>
                      <a:pt x="34590" y="158007"/>
                      <a:pt x="22382" y="140677"/>
                      <a:pt x="22382" y="107547"/>
                    </a:cubicBezTo>
                    <a:lnTo>
                      <a:pt x="22382" y="63203"/>
                    </a:lnTo>
                    <a:lnTo>
                      <a:pt x="0" y="63203"/>
                    </a:lnTo>
                    <a:lnTo>
                      <a:pt x="0" y="42815"/>
                    </a:lnTo>
                    <a:lnTo>
                      <a:pt x="25943" y="31601"/>
                    </a:lnTo>
                    <a:lnTo>
                      <a:pt x="44255" y="0"/>
                    </a:lnTo>
                    <a:lnTo>
                      <a:pt x="66129" y="0"/>
                    </a:lnTo>
                    <a:lnTo>
                      <a:pt x="66129" y="30582"/>
                    </a:lnTo>
                    <a:lnTo>
                      <a:pt x="118523" y="30582"/>
                    </a:lnTo>
                    <a:lnTo>
                      <a:pt x="135818" y="0"/>
                    </a:lnTo>
                    <a:lnTo>
                      <a:pt x="158200" y="0"/>
                    </a:lnTo>
                    <a:lnTo>
                      <a:pt x="158200" y="30582"/>
                    </a:lnTo>
                    <a:lnTo>
                      <a:pt x="192791" y="30582"/>
                    </a:lnTo>
                    <a:lnTo>
                      <a:pt x="192791" y="63713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18430376-7750-954D-9BB3-A4B1D7B40980}"/>
                  </a:ext>
                </a:extLst>
              </p:cNvPr>
              <p:cNvSpPr/>
              <p:nvPr/>
            </p:nvSpPr>
            <p:spPr>
              <a:xfrm>
                <a:off x="1074074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729 w 138870"/>
                  <a:gd name="connsiteY7" fmla="*/ 79003 h 136089"/>
                  <a:gd name="connsiteX8" fmla="*/ 71724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3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729" y="79003"/>
                    </a:lnTo>
                    <a:cubicBezTo>
                      <a:pt x="45273" y="99391"/>
                      <a:pt x="55446" y="106527"/>
                      <a:pt x="71724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E23195A4-7720-1F44-8A7F-7ABCA34F53CE}"/>
                  </a:ext>
                </a:extLst>
              </p:cNvPr>
              <p:cNvSpPr/>
              <p:nvPr/>
            </p:nvSpPr>
            <p:spPr>
              <a:xfrm>
                <a:off x="1230240" y="6207081"/>
                <a:ext cx="89528" cy="129463"/>
              </a:xfrm>
              <a:custGeom>
                <a:avLst/>
                <a:gdLst>
                  <a:gd name="connsiteX0" fmla="*/ 89528 w 89528"/>
                  <a:gd name="connsiteY0" fmla="*/ 0 h 129463"/>
                  <a:gd name="connsiteX1" fmla="*/ 89528 w 89528"/>
                  <a:gd name="connsiteY1" fmla="*/ 42815 h 129463"/>
                  <a:gd name="connsiteX2" fmla="*/ 73759 w 89528"/>
                  <a:gd name="connsiteY2" fmla="*/ 42815 h 129463"/>
                  <a:gd name="connsiteX3" fmla="*/ 43747 w 89528"/>
                  <a:gd name="connsiteY3" fmla="*/ 78494 h 129463"/>
                  <a:gd name="connsiteX4" fmla="*/ 43747 w 89528"/>
                  <a:gd name="connsiteY4" fmla="*/ 129464 h 129463"/>
                  <a:gd name="connsiteX5" fmla="*/ 0 w 89528"/>
                  <a:gd name="connsiteY5" fmla="*/ 129464 h 129463"/>
                  <a:gd name="connsiteX6" fmla="*/ 0 w 89528"/>
                  <a:gd name="connsiteY6" fmla="*/ 2039 h 129463"/>
                  <a:gd name="connsiteX7" fmla="*/ 42729 w 89528"/>
                  <a:gd name="connsiteY7" fmla="*/ 2039 h 129463"/>
                  <a:gd name="connsiteX8" fmla="*/ 42729 w 89528"/>
                  <a:gd name="connsiteY8" fmla="*/ 28034 h 129463"/>
                  <a:gd name="connsiteX9" fmla="*/ 78846 w 89528"/>
                  <a:gd name="connsiteY9" fmla="*/ 0 h 129463"/>
                  <a:gd name="connsiteX10" fmla="*/ 89528 w 89528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528" h="129463">
                    <a:moveTo>
                      <a:pt x="89528" y="0"/>
                    </a:moveTo>
                    <a:lnTo>
                      <a:pt x="89528" y="42815"/>
                    </a:lnTo>
                    <a:lnTo>
                      <a:pt x="73759" y="42815"/>
                    </a:lnTo>
                    <a:cubicBezTo>
                      <a:pt x="52394" y="42815"/>
                      <a:pt x="43747" y="53009"/>
                      <a:pt x="43747" y="78494"/>
                    </a:cubicBezTo>
                    <a:lnTo>
                      <a:pt x="437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42729" y="2039"/>
                    </a:lnTo>
                    <a:lnTo>
                      <a:pt x="42729" y="28034"/>
                    </a:lnTo>
                    <a:cubicBezTo>
                      <a:pt x="47816" y="10194"/>
                      <a:pt x="58498" y="0"/>
                      <a:pt x="78846" y="0"/>
                    </a:cubicBezTo>
                    <a:lnTo>
                      <a:pt x="89528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DCA6C6A5-A516-3144-AD80-5AC1ECC2DEAA}"/>
                  </a:ext>
                </a:extLst>
              </p:cNvPr>
              <p:cNvSpPr/>
              <p:nvPr/>
            </p:nvSpPr>
            <p:spPr>
              <a:xfrm>
                <a:off x="1328924" y="6209120"/>
                <a:ext cx="228907" cy="127425"/>
              </a:xfrm>
              <a:custGeom>
                <a:avLst/>
                <a:gdLst>
                  <a:gd name="connsiteX0" fmla="*/ 188212 w 228907"/>
                  <a:gd name="connsiteY0" fmla="*/ 0 h 127425"/>
                  <a:gd name="connsiteX1" fmla="*/ 228907 w 228907"/>
                  <a:gd name="connsiteY1" fmla="*/ 0 h 127425"/>
                  <a:gd name="connsiteX2" fmla="*/ 197369 w 228907"/>
                  <a:gd name="connsiteY2" fmla="*/ 127425 h 127425"/>
                  <a:gd name="connsiteX3" fmla="*/ 137344 w 228907"/>
                  <a:gd name="connsiteY3" fmla="*/ 127425 h 127425"/>
                  <a:gd name="connsiteX4" fmla="*/ 114962 w 228907"/>
                  <a:gd name="connsiteY4" fmla="*/ 43325 h 127425"/>
                  <a:gd name="connsiteX5" fmla="*/ 92072 w 228907"/>
                  <a:gd name="connsiteY5" fmla="*/ 127425 h 127425"/>
                  <a:gd name="connsiteX6" fmla="*/ 31030 w 228907"/>
                  <a:gd name="connsiteY6" fmla="*/ 127425 h 127425"/>
                  <a:gd name="connsiteX7" fmla="*/ 0 w 228907"/>
                  <a:gd name="connsiteY7" fmla="*/ 0 h 127425"/>
                  <a:gd name="connsiteX8" fmla="*/ 44255 w 228907"/>
                  <a:gd name="connsiteY8" fmla="*/ 0 h 127425"/>
                  <a:gd name="connsiteX9" fmla="*/ 65111 w 228907"/>
                  <a:gd name="connsiteY9" fmla="*/ 94295 h 127425"/>
                  <a:gd name="connsiteX10" fmla="*/ 93598 w 228907"/>
                  <a:gd name="connsiteY10" fmla="*/ 0 h 127425"/>
                  <a:gd name="connsiteX11" fmla="*/ 139888 w 228907"/>
                  <a:gd name="connsiteY11" fmla="*/ 0 h 127425"/>
                  <a:gd name="connsiteX12" fmla="*/ 167865 w 228907"/>
                  <a:gd name="connsiteY12" fmla="*/ 94295 h 127425"/>
                  <a:gd name="connsiteX13" fmla="*/ 188212 w 228907"/>
                  <a:gd name="connsiteY13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8907" h="127425">
                    <a:moveTo>
                      <a:pt x="188212" y="0"/>
                    </a:moveTo>
                    <a:lnTo>
                      <a:pt x="228907" y="0"/>
                    </a:lnTo>
                    <a:lnTo>
                      <a:pt x="197369" y="127425"/>
                    </a:lnTo>
                    <a:lnTo>
                      <a:pt x="137344" y="127425"/>
                    </a:lnTo>
                    <a:lnTo>
                      <a:pt x="114962" y="43325"/>
                    </a:lnTo>
                    <a:lnTo>
                      <a:pt x="92072" y="127425"/>
                    </a:lnTo>
                    <a:lnTo>
                      <a:pt x="31030" y="127425"/>
                    </a:lnTo>
                    <a:lnTo>
                      <a:pt x="0" y="0"/>
                    </a:lnTo>
                    <a:lnTo>
                      <a:pt x="44255" y="0"/>
                    </a:lnTo>
                    <a:lnTo>
                      <a:pt x="65111" y="94295"/>
                    </a:lnTo>
                    <a:lnTo>
                      <a:pt x="93598" y="0"/>
                    </a:lnTo>
                    <a:lnTo>
                      <a:pt x="139888" y="0"/>
                    </a:lnTo>
                    <a:lnTo>
                      <a:pt x="167865" y="94295"/>
                    </a:lnTo>
                    <a:lnTo>
                      <a:pt x="18821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5" name="Freihandform 134">
                <a:extLst>
                  <a:ext uri="{FF2B5EF4-FFF2-40B4-BE49-F238E27FC236}">
                    <a16:creationId xmlns:a16="http://schemas.microsoft.com/office/drawing/2014/main" id="{8464AA8F-001F-4244-B2CA-56A668FBE589}"/>
                  </a:ext>
                </a:extLst>
              </p:cNvPr>
              <p:cNvSpPr/>
              <p:nvPr/>
            </p:nvSpPr>
            <p:spPr>
              <a:xfrm>
                <a:off x="1565461" y="6205043"/>
                <a:ext cx="130222" cy="135580"/>
              </a:xfrm>
              <a:custGeom>
                <a:avLst/>
                <a:gdLst>
                  <a:gd name="connsiteX0" fmla="*/ 0 w 130222"/>
                  <a:gd name="connsiteY0" fmla="*/ 97862 h 135580"/>
                  <a:gd name="connsiteX1" fmla="*/ 43238 w 130222"/>
                  <a:gd name="connsiteY1" fmla="*/ 58106 h 135580"/>
                  <a:gd name="connsiteX2" fmla="*/ 72233 w 130222"/>
                  <a:gd name="connsiteY2" fmla="*/ 53009 h 135580"/>
                  <a:gd name="connsiteX3" fmla="*/ 86985 w 130222"/>
                  <a:gd name="connsiteY3" fmla="*/ 41286 h 135580"/>
                  <a:gd name="connsiteX4" fmla="*/ 67655 w 130222"/>
                  <a:gd name="connsiteY4" fmla="*/ 29053 h 135580"/>
                  <a:gd name="connsiteX5" fmla="*/ 44764 w 130222"/>
                  <a:gd name="connsiteY5" fmla="*/ 46383 h 135580"/>
                  <a:gd name="connsiteX6" fmla="*/ 2543 w 130222"/>
                  <a:gd name="connsiteY6" fmla="*/ 46383 h 135580"/>
                  <a:gd name="connsiteX7" fmla="*/ 67655 w 130222"/>
                  <a:gd name="connsiteY7" fmla="*/ 0 h 135580"/>
                  <a:gd name="connsiteX8" fmla="*/ 127679 w 130222"/>
                  <a:gd name="connsiteY8" fmla="*/ 45873 h 135580"/>
                  <a:gd name="connsiteX9" fmla="*/ 127679 w 130222"/>
                  <a:gd name="connsiteY9" fmla="*/ 96843 h 135580"/>
                  <a:gd name="connsiteX10" fmla="*/ 130223 w 130222"/>
                  <a:gd name="connsiteY10" fmla="*/ 132012 h 135580"/>
                  <a:gd name="connsiteX11" fmla="*/ 92580 w 130222"/>
                  <a:gd name="connsiteY11" fmla="*/ 132012 h 135580"/>
                  <a:gd name="connsiteX12" fmla="*/ 90545 w 130222"/>
                  <a:gd name="connsiteY12" fmla="*/ 105508 h 135580"/>
                  <a:gd name="connsiteX13" fmla="*/ 42729 w 130222"/>
                  <a:gd name="connsiteY13" fmla="*/ 135580 h 135580"/>
                  <a:gd name="connsiteX14" fmla="*/ 0 w 130222"/>
                  <a:gd name="connsiteY14" fmla="*/ 97862 h 135580"/>
                  <a:gd name="connsiteX15" fmla="*/ 86985 w 130222"/>
                  <a:gd name="connsiteY15" fmla="*/ 71868 h 135580"/>
                  <a:gd name="connsiteX16" fmla="*/ 86985 w 130222"/>
                  <a:gd name="connsiteY16" fmla="*/ 66771 h 135580"/>
                  <a:gd name="connsiteX17" fmla="*/ 67146 w 130222"/>
                  <a:gd name="connsiteY17" fmla="*/ 74926 h 135580"/>
                  <a:gd name="connsiteX18" fmla="*/ 59516 w 130222"/>
                  <a:gd name="connsiteY18" fmla="*/ 76455 h 135580"/>
                  <a:gd name="connsiteX19" fmla="*/ 42729 w 130222"/>
                  <a:gd name="connsiteY19" fmla="*/ 92765 h 135580"/>
                  <a:gd name="connsiteX20" fmla="*/ 58498 w 130222"/>
                  <a:gd name="connsiteY20" fmla="*/ 106527 h 135580"/>
                  <a:gd name="connsiteX21" fmla="*/ 86985 w 130222"/>
                  <a:gd name="connsiteY21" fmla="*/ 71868 h 135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0222" h="135580">
                    <a:moveTo>
                      <a:pt x="0" y="97862"/>
                    </a:moveTo>
                    <a:cubicBezTo>
                      <a:pt x="0" y="77474"/>
                      <a:pt x="8139" y="63712"/>
                      <a:pt x="43238" y="58106"/>
                    </a:cubicBezTo>
                    <a:lnTo>
                      <a:pt x="72233" y="53009"/>
                    </a:lnTo>
                    <a:cubicBezTo>
                      <a:pt x="83933" y="50970"/>
                      <a:pt x="86985" y="47912"/>
                      <a:pt x="86985" y="41286"/>
                    </a:cubicBezTo>
                    <a:cubicBezTo>
                      <a:pt x="86985" y="33640"/>
                      <a:pt x="82407" y="29053"/>
                      <a:pt x="67655" y="29053"/>
                    </a:cubicBezTo>
                    <a:cubicBezTo>
                      <a:pt x="52394" y="29053"/>
                      <a:pt x="44764" y="35169"/>
                      <a:pt x="44764" y="46383"/>
                    </a:cubicBezTo>
                    <a:lnTo>
                      <a:pt x="2543" y="46383"/>
                    </a:lnTo>
                    <a:cubicBezTo>
                      <a:pt x="3561" y="19369"/>
                      <a:pt x="26960" y="0"/>
                      <a:pt x="67655" y="0"/>
                    </a:cubicBezTo>
                    <a:cubicBezTo>
                      <a:pt x="107841" y="0"/>
                      <a:pt x="127679" y="16310"/>
                      <a:pt x="127679" y="45873"/>
                    </a:cubicBezTo>
                    <a:lnTo>
                      <a:pt x="127679" y="96843"/>
                    </a:lnTo>
                    <a:cubicBezTo>
                      <a:pt x="127679" y="110605"/>
                      <a:pt x="128697" y="121818"/>
                      <a:pt x="130223" y="132012"/>
                    </a:cubicBezTo>
                    <a:lnTo>
                      <a:pt x="92580" y="132012"/>
                    </a:lnTo>
                    <a:cubicBezTo>
                      <a:pt x="91563" y="124367"/>
                      <a:pt x="90545" y="115702"/>
                      <a:pt x="90545" y="105508"/>
                    </a:cubicBezTo>
                    <a:cubicBezTo>
                      <a:pt x="84441" y="124367"/>
                      <a:pt x="68163" y="135580"/>
                      <a:pt x="42729" y="135580"/>
                    </a:cubicBezTo>
                    <a:cubicBezTo>
                      <a:pt x="16787" y="135071"/>
                      <a:pt x="0" y="120289"/>
                      <a:pt x="0" y="97862"/>
                    </a:cubicBezTo>
                    <a:close/>
                    <a:moveTo>
                      <a:pt x="86985" y="71868"/>
                    </a:moveTo>
                    <a:lnTo>
                      <a:pt x="86985" y="66771"/>
                    </a:lnTo>
                    <a:cubicBezTo>
                      <a:pt x="80880" y="71358"/>
                      <a:pt x="75285" y="72887"/>
                      <a:pt x="67146" y="74926"/>
                    </a:cubicBezTo>
                    <a:lnTo>
                      <a:pt x="59516" y="76455"/>
                    </a:lnTo>
                    <a:cubicBezTo>
                      <a:pt x="47307" y="79513"/>
                      <a:pt x="42729" y="84100"/>
                      <a:pt x="42729" y="92765"/>
                    </a:cubicBezTo>
                    <a:cubicBezTo>
                      <a:pt x="42729" y="101940"/>
                      <a:pt x="49851" y="106527"/>
                      <a:pt x="58498" y="106527"/>
                    </a:cubicBezTo>
                    <a:cubicBezTo>
                      <a:pt x="75285" y="106527"/>
                      <a:pt x="86985" y="94804"/>
                      <a:pt x="86985" y="71868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9190B7C4-D1AD-9E41-AFEA-D9E1D45220CE}"/>
                  </a:ext>
                </a:extLst>
              </p:cNvPr>
              <p:cNvSpPr/>
              <p:nvPr/>
            </p:nvSpPr>
            <p:spPr>
              <a:xfrm>
                <a:off x="1702806" y="6209120"/>
                <a:ext cx="147009" cy="127425"/>
              </a:xfrm>
              <a:custGeom>
                <a:avLst/>
                <a:gdLst>
                  <a:gd name="connsiteX0" fmla="*/ 105297 w 147009"/>
                  <a:gd name="connsiteY0" fmla="*/ 0 h 127425"/>
                  <a:gd name="connsiteX1" fmla="*/ 147009 w 147009"/>
                  <a:gd name="connsiteY1" fmla="*/ 0 h 127425"/>
                  <a:gd name="connsiteX2" fmla="*/ 104789 w 147009"/>
                  <a:gd name="connsiteY2" fmla="*/ 127425 h 127425"/>
                  <a:gd name="connsiteX3" fmla="*/ 42221 w 147009"/>
                  <a:gd name="connsiteY3" fmla="*/ 127425 h 127425"/>
                  <a:gd name="connsiteX4" fmla="*/ 0 w 147009"/>
                  <a:gd name="connsiteY4" fmla="*/ 0 h 127425"/>
                  <a:gd name="connsiteX5" fmla="*/ 44764 w 147009"/>
                  <a:gd name="connsiteY5" fmla="*/ 0 h 127425"/>
                  <a:gd name="connsiteX6" fmla="*/ 75285 w 147009"/>
                  <a:gd name="connsiteY6" fmla="*/ 94295 h 127425"/>
                  <a:gd name="connsiteX7" fmla="*/ 105297 w 14700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009" h="127425">
                    <a:moveTo>
                      <a:pt x="105297" y="0"/>
                    </a:moveTo>
                    <a:lnTo>
                      <a:pt x="147009" y="0"/>
                    </a:lnTo>
                    <a:lnTo>
                      <a:pt x="104789" y="127425"/>
                    </a:lnTo>
                    <a:lnTo>
                      <a:pt x="42221" y="127425"/>
                    </a:lnTo>
                    <a:lnTo>
                      <a:pt x="0" y="0"/>
                    </a:lnTo>
                    <a:lnTo>
                      <a:pt x="44764" y="0"/>
                    </a:lnTo>
                    <a:lnTo>
                      <a:pt x="75285" y="94295"/>
                    </a:lnTo>
                    <a:lnTo>
                      <a:pt x="105297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5ECEEDFD-9635-C446-BD18-A2898F75CA1C}"/>
                  </a:ext>
                </a:extLst>
              </p:cNvPr>
              <p:cNvSpPr/>
              <p:nvPr/>
            </p:nvSpPr>
            <p:spPr>
              <a:xfrm>
                <a:off x="1851341" y="6205043"/>
                <a:ext cx="138870" cy="136089"/>
              </a:xfrm>
              <a:custGeom>
                <a:avLst/>
                <a:gdLst>
                  <a:gd name="connsiteX0" fmla="*/ 95632 w 138870"/>
                  <a:gd name="connsiteY0" fmla="*/ 93275 h 136089"/>
                  <a:gd name="connsiteX1" fmla="*/ 138362 w 138870"/>
                  <a:gd name="connsiteY1" fmla="*/ 93275 h 136089"/>
                  <a:gd name="connsiteX2" fmla="*/ 70198 w 138870"/>
                  <a:gd name="connsiteY2" fmla="*/ 136090 h 136089"/>
                  <a:gd name="connsiteX3" fmla="*/ 0 w 138870"/>
                  <a:gd name="connsiteY3" fmla="*/ 67790 h 136089"/>
                  <a:gd name="connsiteX4" fmla="*/ 70198 w 138870"/>
                  <a:gd name="connsiteY4" fmla="*/ 0 h 136089"/>
                  <a:gd name="connsiteX5" fmla="*/ 138870 w 138870"/>
                  <a:gd name="connsiteY5" fmla="*/ 68300 h 136089"/>
                  <a:gd name="connsiteX6" fmla="*/ 138362 w 138870"/>
                  <a:gd name="connsiteY6" fmla="*/ 79003 h 136089"/>
                  <a:gd name="connsiteX7" fmla="*/ 42221 w 138870"/>
                  <a:gd name="connsiteY7" fmla="*/ 79003 h 136089"/>
                  <a:gd name="connsiteX8" fmla="*/ 71216 w 138870"/>
                  <a:gd name="connsiteY8" fmla="*/ 106527 h 136089"/>
                  <a:gd name="connsiteX9" fmla="*/ 95632 w 138870"/>
                  <a:gd name="connsiteY9" fmla="*/ 93275 h 136089"/>
                  <a:gd name="connsiteX10" fmla="*/ 42729 w 138870"/>
                  <a:gd name="connsiteY10" fmla="*/ 53519 h 136089"/>
                  <a:gd name="connsiteX11" fmla="*/ 97158 w 138870"/>
                  <a:gd name="connsiteY11" fmla="*/ 53519 h 136089"/>
                  <a:gd name="connsiteX12" fmla="*/ 70707 w 138870"/>
                  <a:gd name="connsiteY12" fmla="*/ 28543 h 136089"/>
                  <a:gd name="connsiteX13" fmla="*/ 42729 w 138870"/>
                  <a:gd name="connsiteY13" fmla="*/ 53519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870" h="136089">
                    <a:moveTo>
                      <a:pt x="95632" y="93275"/>
                    </a:moveTo>
                    <a:lnTo>
                      <a:pt x="138362" y="93275"/>
                    </a:lnTo>
                    <a:cubicBezTo>
                      <a:pt x="134292" y="115192"/>
                      <a:pt x="116997" y="136090"/>
                      <a:pt x="70198" y="136090"/>
                    </a:cubicBezTo>
                    <a:cubicBezTo>
                      <a:pt x="18312" y="136090"/>
                      <a:pt x="0" y="102959"/>
                      <a:pt x="0" y="67790"/>
                    </a:cubicBezTo>
                    <a:cubicBezTo>
                      <a:pt x="0" y="30582"/>
                      <a:pt x="21365" y="0"/>
                      <a:pt x="70198" y="0"/>
                    </a:cubicBezTo>
                    <a:cubicBezTo>
                      <a:pt x="122084" y="0"/>
                      <a:pt x="138870" y="33131"/>
                      <a:pt x="138870" y="68300"/>
                    </a:cubicBezTo>
                    <a:cubicBezTo>
                      <a:pt x="138870" y="72377"/>
                      <a:pt x="138870" y="75945"/>
                      <a:pt x="138362" y="79003"/>
                    </a:cubicBezTo>
                    <a:lnTo>
                      <a:pt x="42221" y="79003"/>
                    </a:lnTo>
                    <a:cubicBezTo>
                      <a:pt x="44764" y="99391"/>
                      <a:pt x="54938" y="106527"/>
                      <a:pt x="71216" y="106527"/>
                    </a:cubicBezTo>
                    <a:cubicBezTo>
                      <a:pt x="83933" y="106527"/>
                      <a:pt x="92071" y="100921"/>
                      <a:pt x="95632" y="93275"/>
                    </a:cubicBezTo>
                    <a:close/>
                    <a:moveTo>
                      <a:pt x="42729" y="53519"/>
                    </a:moveTo>
                    <a:lnTo>
                      <a:pt x="97158" y="53519"/>
                    </a:lnTo>
                    <a:cubicBezTo>
                      <a:pt x="95632" y="37208"/>
                      <a:pt x="88002" y="28543"/>
                      <a:pt x="70707" y="28543"/>
                    </a:cubicBezTo>
                    <a:cubicBezTo>
                      <a:pt x="54938" y="29053"/>
                      <a:pt x="45781" y="35169"/>
                      <a:pt x="42729" y="53519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9" name="Grafik 2">
              <a:extLst>
                <a:ext uri="{FF2B5EF4-FFF2-40B4-BE49-F238E27FC236}">
                  <a16:creationId xmlns:a16="http://schemas.microsoft.com/office/drawing/2014/main" id="{91380A73-A0E8-5041-B21F-FC931ACFEE56}"/>
                </a:ext>
              </a:extLst>
            </p:cNvPr>
            <p:cNvGrpSpPr/>
            <p:nvPr userDrawn="1"/>
          </p:nvGrpSpPr>
          <p:grpSpPr>
            <a:xfrm>
              <a:off x="479422" y="6305049"/>
              <a:ext cx="1151999" cy="219999"/>
              <a:chOff x="479425" y="6199970"/>
              <a:chExt cx="1697475" cy="324170"/>
            </a:xfrm>
            <a:solidFill>
              <a:schemeClr val="tx2"/>
            </a:solidFill>
          </p:grpSpPr>
          <p:sp>
            <p:nvSpPr>
              <p:cNvPr id="120" name="Freihandform 119">
                <a:extLst>
                  <a:ext uri="{FF2B5EF4-FFF2-40B4-BE49-F238E27FC236}">
                    <a16:creationId xmlns:a16="http://schemas.microsoft.com/office/drawing/2014/main" id="{2B254EE6-2306-CD4F-952E-A1F0BF545DEB}"/>
                  </a:ext>
                </a:extLst>
              </p:cNvPr>
              <p:cNvSpPr/>
              <p:nvPr/>
            </p:nvSpPr>
            <p:spPr>
              <a:xfrm>
                <a:off x="479425" y="6392612"/>
                <a:ext cx="127679" cy="127425"/>
              </a:xfrm>
              <a:custGeom>
                <a:avLst/>
                <a:gdLst>
                  <a:gd name="connsiteX0" fmla="*/ 107332 w 127679"/>
                  <a:gd name="connsiteY0" fmla="*/ 0 h 127425"/>
                  <a:gd name="connsiteX1" fmla="*/ 127679 w 127679"/>
                  <a:gd name="connsiteY1" fmla="*/ 0 h 127425"/>
                  <a:gd name="connsiteX2" fmla="*/ 77320 w 127679"/>
                  <a:gd name="connsiteY2" fmla="*/ 127425 h 127425"/>
                  <a:gd name="connsiteX3" fmla="*/ 50360 w 127679"/>
                  <a:gd name="connsiteY3" fmla="*/ 127425 h 127425"/>
                  <a:gd name="connsiteX4" fmla="*/ 0 w 127679"/>
                  <a:gd name="connsiteY4" fmla="*/ 0 h 127425"/>
                  <a:gd name="connsiteX5" fmla="*/ 21365 w 127679"/>
                  <a:gd name="connsiteY5" fmla="*/ 0 h 127425"/>
                  <a:gd name="connsiteX6" fmla="*/ 64094 w 127679"/>
                  <a:gd name="connsiteY6" fmla="*/ 109586 h 127425"/>
                  <a:gd name="connsiteX7" fmla="*/ 107332 w 127679"/>
                  <a:gd name="connsiteY7" fmla="*/ 0 h 12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79" h="127425">
                    <a:moveTo>
                      <a:pt x="107332" y="0"/>
                    </a:moveTo>
                    <a:lnTo>
                      <a:pt x="127679" y="0"/>
                    </a:lnTo>
                    <a:lnTo>
                      <a:pt x="77320" y="127425"/>
                    </a:lnTo>
                    <a:lnTo>
                      <a:pt x="50360" y="127425"/>
                    </a:lnTo>
                    <a:lnTo>
                      <a:pt x="0" y="0"/>
                    </a:lnTo>
                    <a:lnTo>
                      <a:pt x="21365" y="0"/>
                    </a:lnTo>
                    <a:lnTo>
                      <a:pt x="64094" y="109586"/>
                    </a:lnTo>
                    <a:lnTo>
                      <a:pt x="107332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 120">
                <a:extLst>
                  <a:ext uri="{FF2B5EF4-FFF2-40B4-BE49-F238E27FC236}">
                    <a16:creationId xmlns:a16="http://schemas.microsoft.com/office/drawing/2014/main" id="{9371568D-B3B7-104A-82D4-C1C83982FC15}"/>
                  </a:ext>
                </a:extLst>
              </p:cNvPr>
              <p:cNvSpPr/>
              <p:nvPr/>
            </p:nvSpPr>
            <p:spPr>
              <a:xfrm>
                <a:off x="617786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19839 w 123101"/>
                  <a:gd name="connsiteY7" fmla="*/ 72887 h 136089"/>
                  <a:gd name="connsiteX8" fmla="*/ 63585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19839" y="72887"/>
                    </a:lnTo>
                    <a:cubicBezTo>
                      <a:pt x="21365" y="108056"/>
                      <a:pt x="38151" y="120799"/>
                      <a:pt x="63585" y="120799"/>
                    </a:cubicBezTo>
                    <a:cubicBezTo>
                      <a:pt x="88511" y="120799"/>
                      <a:pt x="99702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8660" y="16310"/>
                      <a:pt x="22891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 121">
                <a:extLst>
                  <a:ext uri="{FF2B5EF4-FFF2-40B4-BE49-F238E27FC236}">
                    <a16:creationId xmlns:a16="http://schemas.microsoft.com/office/drawing/2014/main" id="{5C3BD25F-58E5-F04B-9CF4-DDAFA756C53A}"/>
                  </a:ext>
                </a:extLst>
              </p:cNvPr>
              <p:cNvSpPr/>
              <p:nvPr/>
            </p:nvSpPr>
            <p:spPr>
              <a:xfrm>
                <a:off x="766321" y="6388535"/>
                <a:ext cx="114453" cy="132012"/>
              </a:xfrm>
              <a:custGeom>
                <a:avLst/>
                <a:gdLst>
                  <a:gd name="connsiteX0" fmla="*/ 114454 w 114453"/>
                  <a:gd name="connsiteY0" fmla="*/ 50460 h 132012"/>
                  <a:gd name="connsiteX1" fmla="*/ 114454 w 114453"/>
                  <a:gd name="connsiteY1" fmla="*/ 132012 h 132012"/>
                  <a:gd name="connsiteX2" fmla="*/ 94106 w 114453"/>
                  <a:gd name="connsiteY2" fmla="*/ 132012 h 132012"/>
                  <a:gd name="connsiteX3" fmla="*/ 94106 w 114453"/>
                  <a:gd name="connsiteY3" fmla="*/ 52499 h 132012"/>
                  <a:gd name="connsiteX4" fmla="*/ 63585 w 114453"/>
                  <a:gd name="connsiteY4" fmla="*/ 16820 h 132012"/>
                  <a:gd name="connsiteX5" fmla="*/ 20347 w 114453"/>
                  <a:gd name="connsiteY5" fmla="*/ 82571 h 132012"/>
                  <a:gd name="connsiteX6" fmla="*/ 20347 w 114453"/>
                  <a:gd name="connsiteY6" fmla="*/ 131503 h 132012"/>
                  <a:gd name="connsiteX7" fmla="*/ 0 w 114453"/>
                  <a:gd name="connsiteY7" fmla="*/ 131503 h 132012"/>
                  <a:gd name="connsiteX8" fmla="*/ 0 w 114453"/>
                  <a:gd name="connsiteY8" fmla="*/ 4078 h 132012"/>
                  <a:gd name="connsiteX9" fmla="*/ 20347 w 114453"/>
                  <a:gd name="connsiteY9" fmla="*/ 4078 h 132012"/>
                  <a:gd name="connsiteX10" fmla="*/ 20347 w 114453"/>
                  <a:gd name="connsiteY10" fmla="*/ 37718 h 132012"/>
                  <a:gd name="connsiteX11" fmla="*/ 69181 w 114453"/>
                  <a:gd name="connsiteY11" fmla="*/ 0 h 132012"/>
                  <a:gd name="connsiteX12" fmla="*/ 114454 w 114453"/>
                  <a:gd name="connsiteY12" fmla="*/ 5046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114454" y="50460"/>
                    </a:moveTo>
                    <a:lnTo>
                      <a:pt x="114454" y="132012"/>
                    </a:lnTo>
                    <a:lnTo>
                      <a:pt x="94106" y="132012"/>
                    </a:lnTo>
                    <a:lnTo>
                      <a:pt x="94106" y="52499"/>
                    </a:lnTo>
                    <a:cubicBezTo>
                      <a:pt x="94106" y="24975"/>
                      <a:pt x="81898" y="16820"/>
                      <a:pt x="63585" y="16820"/>
                    </a:cubicBezTo>
                    <a:cubicBezTo>
                      <a:pt x="35099" y="16820"/>
                      <a:pt x="20347" y="38737"/>
                      <a:pt x="20347" y="82571"/>
                    </a:cubicBezTo>
                    <a:lnTo>
                      <a:pt x="20347" y="131503"/>
                    </a:lnTo>
                    <a:lnTo>
                      <a:pt x="0" y="131503"/>
                    </a:lnTo>
                    <a:lnTo>
                      <a:pt x="0" y="4078"/>
                    </a:lnTo>
                    <a:lnTo>
                      <a:pt x="20347" y="4078"/>
                    </a:lnTo>
                    <a:lnTo>
                      <a:pt x="20347" y="37718"/>
                    </a:lnTo>
                    <a:cubicBezTo>
                      <a:pt x="27978" y="14781"/>
                      <a:pt x="44255" y="0"/>
                      <a:pt x="69181" y="0"/>
                    </a:cubicBezTo>
                    <a:cubicBezTo>
                      <a:pt x="100719" y="0"/>
                      <a:pt x="114454" y="17330"/>
                      <a:pt x="114454" y="50460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 122">
                <a:extLst>
                  <a:ext uri="{FF2B5EF4-FFF2-40B4-BE49-F238E27FC236}">
                    <a16:creationId xmlns:a16="http://schemas.microsoft.com/office/drawing/2014/main" id="{3FC1571D-EDC2-C04C-9EBF-856BA53CCC66}"/>
                  </a:ext>
                </a:extLst>
              </p:cNvPr>
              <p:cNvSpPr/>
              <p:nvPr/>
            </p:nvSpPr>
            <p:spPr>
              <a:xfrm>
                <a:off x="898579" y="6364579"/>
                <a:ext cx="86475" cy="155458"/>
              </a:xfrm>
              <a:custGeom>
                <a:avLst/>
                <a:gdLst>
                  <a:gd name="connsiteX0" fmla="*/ 55446 w 86475"/>
                  <a:gd name="connsiteY0" fmla="*/ 155459 h 155458"/>
                  <a:gd name="connsiteX1" fmla="*/ 24417 w 86475"/>
                  <a:gd name="connsiteY1" fmla="*/ 125386 h 155458"/>
                  <a:gd name="connsiteX2" fmla="*/ 24417 w 86475"/>
                  <a:gd name="connsiteY2" fmla="*/ 43834 h 155458"/>
                  <a:gd name="connsiteX3" fmla="*/ 0 w 86475"/>
                  <a:gd name="connsiteY3" fmla="*/ 43834 h 155458"/>
                  <a:gd name="connsiteX4" fmla="*/ 0 w 86475"/>
                  <a:gd name="connsiteY4" fmla="*/ 32621 h 155458"/>
                  <a:gd name="connsiteX5" fmla="*/ 25943 w 86475"/>
                  <a:gd name="connsiteY5" fmla="*/ 26504 h 155458"/>
                  <a:gd name="connsiteX6" fmla="*/ 33573 w 86475"/>
                  <a:gd name="connsiteY6" fmla="*/ 0 h 155458"/>
                  <a:gd name="connsiteX7" fmla="*/ 44764 w 86475"/>
                  <a:gd name="connsiteY7" fmla="*/ 0 h 155458"/>
                  <a:gd name="connsiteX8" fmla="*/ 44764 w 86475"/>
                  <a:gd name="connsiteY8" fmla="*/ 28034 h 155458"/>
                  <a:gd name="connsiteX9" fmla="*/ 86476 w 86475"/>
                  <a:gd name="connsiteY9" fmla="*/ 28034 h 155458"/>
                  <a:gd name="connsiteX10" fmla="*/ 86476 w 86475"/>
                  <a:gd name="connsiteY10" fmla="*/ 44344 h 155458"/>
                  <a:gd name="connsiteX11" fmla="*/ 44764 w 86475"/>
                  <a:gd name="connsiteY11" fmla="*/ 44344 h 155458"/>
                  <a:gd name="connsiteX12" fmla="*/ 44764 w 86475"/>
                  <a:gd name="connsiteY12" fmla="*/ 139148 h 155458"/>
                  <a:gd name="connsiteX13" fmla="*/ 85459 w 86475"/>
                  <a:gd name="connsiteY13" fmla="*/ 139148 h 155458"/>
                  <a:gd name="connsiteX14" fmla="*/ 85459 w 86475"/>
                  <a:gd name="connsiteY14" fmla="*/ 155459 h 155458"/>
                  <a:gd name="connsiteX15" fmla="*/ 55446 w 86475"/>
                  <a:gd name="connsiteY15" fmla="*/ 155459 h 15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75" h="155458">
                    <a:moveTo>
                      <a:pt x="55446" y="155459"/>
                    </a:moveTo>
                    <a:cubicBezTo>
                      <a:pt x="31030" y="155459"/>
                      <a:pt x="24417" y="145774"/>
                      <a:pt x="24417" y="125386"/>
                    </a:cubicBezTo>
                    <a:lnTo>
                      <a:pt x="24417" y="43834"/>
                    </a:lnTo>
                    <a:lnTo>
                      <a:pt x="0" y="43834"/>
                    </a:lnTo>
                    <a:lnTo>
                      <a:pt x="0" y="32621"/>
                    </a:lnTo>
                    <a:lnTo>
                      <a:pt x="25943" y="26504"/>
                    </a:lnTo>
                    <a:lnTo>
                      <a:pt x="33573" y="0"/>
                    </a:lnTo>
                    <a:lnTo>
                      <a:pt x="44764" y="0"/>
                    </a:lnTo>
                    <a:lnTo>
                      <a:pt x="44764" y="28034"/>
                    </a:lnTo>
                    <a:lnTo>
                      <a:pt x="86476" y="28034"/>
                    </a:lnTo>
                    <a:lnTo>
                      <a:pt x="86476" y="44344"/>
                    </a:lnTo>
                    <a:lnTo>
                      <a:pt x="44764" y="44344"/>
                    </a:lnTo>
                    <a:lnTo>
                      <a:pt x="44764" y="139148"/>
                    </a:lnTo>
                    <a:lnTo>
                      <a:pt x="85459" y="139148"/>
                    </a:lnTo>
                    <a:lnTo>
                      <a:pt x="85459" y="155459"/>
                    </a:lnTo>
                    <a:lnTo>
                      <a:pt x="55446" y="155459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 123">
                <a:extLst>
                  <a:ext uri="{FF2B5EF4-FFF2-40B4-BE49-F238E27FC236}">
                    <a16:creationId xmlns:a16="http://schemas.microsoft.com/office/drawing/2014/main" id="{83BDA0D2-CC1F-2B4D-BBB3-3F59921F6A91}"/>
                  </a:ext>
                </a:extLst>
              </p:cNvPr>
              <p:cNvSpPr/>
              <p:nvPr/>
            </p:nvSpPr>
            <p:spPr>
              <a:xfrm>
                <a:off x="1009471" y="6392103"/>
                <a:ext cx="114453" cy="132012"/>
              </a:xfrm>
              <a:custGeom>
                <a:avLst/>
                <a:gdLst>
                  <a:gd name="connsiteX0" fmla="*/ 94106 w 114453"/>
                  <a:gd name="connsiteY0" fmla="*/ 510 h 132012"/>
                  <a:gd name="connsiteX1" fmla="*/ 114454 w 114453"/>
                  <a:gd name="connsiteY1" fmla="*/ 510 h 132012"/>
                  <a:gd name="connsiteX2" fmla="*/ 114454 w 114453"/>
                  <a:gd name="connsiteY2" fmla="*/ 127935 h 132012"/>
                  <a:gd name="connsiteX3" fmla="*/ 94106 w 114453"/>
                  <a:gd name="connsiteY3" fmla="*/ 127935 h 132012"/>
                  <a:gd name="connsiteX4" fmla="*/ 94106 w 114453"/>
                  <a:gd name="connsiteY4" fmla="*/ 95314 h 132012"/>
                  <a:gd name="connsiteX5" fmla="*/ 46799 w 114453"/>
                  <a:gd name="connsiteY5" fmla="*/ 132012 h 132012"/>
                  <a:gd name="connsiteX6" fmla="*/ 0 w 114453"/>
                  <a:gd name="connsiteY6" fmla="*/ 81552 h 132012"/>
                  <a:gd name="connsiteX7" fmla="*/ 0 w 114453"/>
                  <a:gd name="connsiteY7" fmla="*/ 0 h 132012"/>
                  <a:gd name="connsiteX8" fmla="*/ 20347 w 114453"/>
                  <a:gd name="connsiteY8" fmla="*/ 0 h 132012"/>
                  <a:gd name="connsiteX9" fmla="*/ 20347 w 114453"/>
                  <a:gd name="connsiteY9" fmla="*/ 79004 h 132012"/>
                  <a:gd name="connsiteX10" fmla="*/ 52394 w 114453"/>
                  <a:gd name="connsiteY10" fmla="*/ 114683 h 132012"/>
                  <a:gd name="connsiteX11" fmla="*/ 94106 w 114453"/>
                  <a:gd name="connsiteY11" fmla="*/ 48422 h 132012"/>
                  <a:gd name="connsiteX12" fmla="*/ 94106 w 114453"/>
                  <a:gd name="connsiteY12" fmla="*/ 510 h 13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453" h="132012">
                    <a:moveTo>
                      <a:pt x="94106" y="510"/>
                    </a:moveTo>
                    <a:lnTo>
                      <a:pt x="114454" y="510"/>
                    </a:lnTo>
                    <a:lnTo>
                      <a:pt x="114454" y="127935"/>
                    </a:lnTo>
                    <a:lnTo>
                      <a:pt x="94106" y="127935"/>
                    </a:lnTo>
                    <a:lnTo>
                      <a:pt x="94106" y="95314"/>
                    </a:lnTo>
                    <a:cubicBezTo>
                      <a:pt x="86476" y="118250"/>
                      <a:pt x="71216" y="132012"/>
                      <a:pt x="46799" y="132012"/>
                    </a:cubicBezTo>
                    <a:cubicBezTo>
                      <a:pt x="14752" y="132012"/>
                      <a:pt x="0" y="115192"/>
                      <a:pt x="0" y="81552"/>
                    </a:cubicBezTo>
                    <a:lnTo>
                      <a:pt x="0" y="0"/>
                    </a:lnTo>
                    <a:lnTo>
                      <a:pt x="20347" y="0"/>
                    </a:lnTo>
                    <a:lnTo>
                      <a:pt x="20347" y="79004"/>
                    </a:lnTo>
                    <a:cubicBezTo>
                      <a:pt x="20347" y="107547"/>
                      <a:pt x="33064" y="114683"/>
                      <a:pt x="52394" y="114683"/>
                    </a:cubicBezTo>
                    <a:cubicBezTo>
                      <a:pt x="78846" y="114683"/>
                      <a:pt x="94106" y="90727"/>
                      <a:pt x="94106" y="48422"/>
                    </a:cubicBezTo>
                    <a:lnTo>
                      <a:pt x="94106" y="51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Freihandform 124">
                <a:extLst>
                  <a:ext uri="{FF2B5EF4-FFF2-40B4-BE49-F238E27FC236}">
                    <a16:creationId xmlns:a16="http://schemas.microsoft.com/office/drawing/2014/main" id="{DCB623BB-AD46-9847-BC21-8DB27F439002}"/>
                  </a:ext>
                </a:extLst>
              </p:cNvPr>
              <p:cNvSpPr/>
              <p:nvPr/>
            </p:nvSpPr>
            <p:spPr>
              <a:xfrm>
                <a:off x="1158515" y="6391083"/>
                <a:ext cx="71215" cy="129463"/>
              </a:xfrm>
              <a:custGeom>
                <a:avLst/>
                <a:gdLst>
                  <a:gd name="connsiteX0" fmla="*/ 71216 w 71215"/>
                  <a:gd name="connsiteY0" fmla="*/ 0 h 129463"/>
                  <a:gd name="connsiteX1" fmla="*/ 71216 w 71215"/>
                  <a:gd name="connsiteY1" fmla="*/ 20388 h 129463"/>
                  <a:gd name="connsiteX2" fmla="*/ 66129 w 71215"/>
                  <a:gd name="connsiteY2" fmla="*/ 20388 h 129463"/>
                  <a:gd name="connsiteX3" fmla="*/ 20347 w 71215"/>
                  <a:gd name="connsiteY3" fmla="*/ 82571 h 129463"/>
                  <a:gd name="connsiteX4" fmla="*/ 20347 w 71215"/>
                  <a:gd name="connsiteY4" fmla="*/ 129464 h 129463"/>
                  <a:gd name="connsiteX5" fmla="*/ 0 w 71215"/>
                  <a:gd name="connsiteY5" fmla="*/ 129464 h 129463"/>
                  <a:gd name="connsiteX6" fmla="*/ 0 w 71215"/>
                  <a:gd name="connsiteY6" fmla="*/ 2039 h 129463"/>
                  <a:gd name="connsiteX7" fmla="*/ 20347 w 71215"/>
                  <a:gd name="connsiteY7" fmla="*/ 2039 h 129463"/>
                  <a:gd name="connsiteX8" fmla="*/ 20347 w 71215"/>
                  <a:gd name="connsiteY8" fmla="*/ 35679 h 129463"/>
                  <a:gd name="connsiteX9" fmla="*/ 67146 w 71215"/>
                  <a:gd name="connsiteY9" fmla="*/ 0 h 129463"/>
                  <a:gd name="connsiteX10" fmla="*/ 71216 w 71215"/>
                  <a:gd name="connsiteY10" fmla="*/ 0 h 12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215" h="129463">
                    <a:moveTo>
                      <a:pt x="71216" y="0"/>
                    </a:moveTo>
                    <a:lnTo>
                      <a:pt x="71216" y="20388"/>
                    </a:lnTo>
                    <a:lnTo>
                      <a:pt x="66129" y="20388"/>
                    </a:lnTo>
                    <a:cubicBezTo>
                      <a:pt x="28486" y="19369"/>
                      <a:pt x="20347" y="46892"/>
                      <a:pt x="20347" y="82571"/>
                    </a:cubicBezTo>
                    <a:lnTo>
                      <a:pt x="20347" y="129464"/>
                    </a:lnTo>
                    <a:lnTo>
                      <a:pt x="0" y="129464"/>
                    </a:lnTo>
                    <a:lnTo>
                      <a:pt x="0" y="2039"/>
                    </a:lnTo>
                    <a:lnTo>
                      <a:pt x="20347" y="2039"/>
                    </a:lnTo>
                    <a:lnTo>
                      <a:pt x="20347" y="35679"/>
                    </a:lnTo>
                    <a:cubicBezTo>
                      <a:pt x="27978" y="14272"/>
                      <a:pt x="42729" y="0"/>
                      <a:pt x="67146" y="0"/>
                    </a:cubicBezTo>
                    <a:lnTo>
                      <a:pt x="71216" y="0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Freihandform 125">
                <a:extLst>
                  <a:ext uri="{FF2B5EF4-FFF2-40B4-BE49-F238E27FC236}">
                    <a16:creationId xmlns:a16="http://schemas.microsoft.com/office/drawing/2014/main" id="{F34F5D0E-399A-A94F-AF04-A38DDC3D21C6}"/>
                  </a:ext>
                </a:extLst>
              </p:cNvPr>
              <p:cNvSpPr/>
              <p:nvPr/>
            </p:nvSpPr>
            <p:spPr>
              <a:xfrm>
                <a:off x="1241939" y="6388025"/>
                <a:ext cx="123101" cy="136089"/>
              </a:xfrm>
              <a:custGeom>
                <a:avLst/>
                <a:gdLst>
                  <a:gd name="connsiteX0" fmla="*/ 103771 w 123101"/>
                  <a:gd name="connsiteY0" fmla="*/ 92765 h 136089"/>
                  <a:gd name="connsiteX1" fmla="*/ 122592 w 123101"/>
                  <a:gd name="connsiteY1" fmla="*/ 92765 h 136089"/>
                  <a:gd name="connsiteX2" fmla="*/ 63077 w 123101"/>
                  <a:gd name="connsiteY2" fmla="*/ 136090 h 136089"/>
                  <a:gd name="connsiteX3" fmla="*/ 0 w 123101"/>
                  <a:gd name="connsiteY3" fmla="*/ 67790 h 136089"/>
                  <a:gd name="connsiteX4" fmla="*/ 63077 w 123101"/>
                  <a:gd name="connsiteY4" fmla="*/ 0 h 136089"/>
                  <a:gd name="connsiteX5" fmla="*/ 123101 w 123101"/>
                  <a:gd name="connsiteY5" fmla="*/ 63713 h 136089"/>
                  <a:gd name="connsiteX6" fmla="*/ 122592 w 123101"/>
                  <a:gd name="connsiteY6" fmla="*/ 72887 h 136089"/>
                  <a:gd name="connsiteX7" fmla="*/ 20347 w 123101"/>
                  <a:gd name="connsiteY7" fmla="*/ 72887 h 136089"/>
                  <a:gd name="connsiteX8" fmla="*/ 64094 w 123101"/>
                  <a:gd name="connsiteY8" fmla="*/ 120799 h 136089"/>
                  <a:gd name="connsiteX9" fmla="*/ 103771 w 123101"/>
                  <a:gd name="connsiteY9" fmla="*/ 92765 h 136089"/>
                  <a:gd name="connsiteX10" fmla="*/ 20347 w 123101"/>
                  <a:gd name="connsiteY10" fmla="*/ 57596 h 136089"/>
                  <a:gd name="connsiteX11" fmla="*/ 102754 w 123101"/>
                  <a:gd name="connsiteY11" fmla="*/ 57596 h 136089"/>
                  <a:gd name="connsiteX12" fmla="*/ 63077 w 123101"/>
                  <a:gd name="connsiteY12" fmla="*/ 15801 h 136089"/>
                  <a:gd name="connsiteX13" fmla="*/ 20347 w 123101"/>
                  <a:gd name="connsiteY13" fmla="*/ 57596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101" h="136089">
                    <a:moveTo>
                      <a:pt x="103771" y="92765"/>
                    </a:moveTo>
                    <a:lnTo>
                      <a:pt x="122592" y="92765"/>
                    </a:lnTo>
                    <a:cubicBezTo>
                      <a:pt x="120049" y="112134"/>
                      <a:pt x="105297" y="136090"/>
                      <a:pt x="63077" y="136090"/>
                    </a:cubicBezTo>
                    <a:cubicBezTo>
                      <a:pt x="19330" y="136090"/>
                      <a:pt x="0" y="106527"/>
                      <a:pt x="0" y="67790"/>
                    </a:cubicBezTo>
                    <a:cubicBezTo>
                      <a:pt x="0" y="29563"/>
                      <a:pt x="20856" y="0"/>
                      <a:pt x="63077" y="0"/>
                    </a:cubicBezTo>
                    <a:cubicBezTo>
                      <a:pt x="101228" y="0"/>
                      <a:pt x="123101" y="26504"/>
                      <a:pt x="123101" y="63713"/>
                    </a:cubicBezTo>
                    <a:cubicBezTo>
                      <a:pt x="123101" y="66771"/>
                      <a:pt x="123101" y="69319"/>
                      <a:pt x="122592" y="72887"/>
                    </a:cubicBezTo>
                    <a:lnTo>
                      <a:pt x="20347" y="72887"/>
                    </a:lnTo>
                    <a:cubicBezTo>
                      <a:pt x="21873" y="108056"/>
                      <a:pt x="38660" y="120799"/>
                      <a:pt x="64094" y="120799"/>
                    </a:cubicBezTo>
                    <a:cubicBezTo>
                      <a:pt x="88511" y="120799"/>
                      <a:pt x="100210" y="109076"/>
                      <a:pt x="103771" y="92765"/>
                    </a:cubicBezTo>
                    <a:close/>
                    <a:moveTo>
                      <a:pt x="20347" y="57596"/>
                    </a:moveTo>
                    <a:lnTo>
                      <a:pt x="102754" y="57596"/>
                    </a:lnTo>
                    <a:cubicBezTo>
                      <a:pt x="101736" y="28034"/>
                      <a:pt x="86476" y="15801"/>
                      <a:pt x="63077" y="15801"/>
                    </a:cubicBezTo>
                    <a:cubicBezTo>
                      <a:pt x="39169" y="16310"/>
                      <a:pt x="23399" y="27524"/>
                      <a:pt x="20347" y="57596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Freihandform 126">
                <a:extLst>
                  <a:ext uri="{FF2B5EF4-FFF2-40B4-BE49-F238E27FC236}">
                    <a16:creationId xmlns:a16="http://schemas.microsoft.com/office/drawing/2014/main" id="{F8B84518-715B-BB43-962A-E42D6467E954}"/>
                  </a:ext>
                </a:extLst>
              </p:cNvPr>
              <p:cNvSpPr/>
              <p:nvPr/>
            </p:nvSpPr>
            <p:spPr>
              <a:xfrm>
                <a:off x="1384879" y="6388025"/>
                <a:ext cx="110892" cy="136089"/>
              </a:xfrm>
              <a:custGeom>
                <a:avLst/>
                <a:gdLst>
                  <a:gd name="connsiteX0" fmla="*/ 18313 w 110892"/>
                  <a:gd name="connsiteY0" fmla="*/ 89707 h 136089"/>
                  <a:gd name="connsiteX1" fmla="*/ 59007 w 110892"/>
                  <a:gd name="connsiteY1" fmla="*/ 120799 h 136089"/>
                  <a:gd name="connsiteX2" fmla="*/ 90545 w 110892"/>
                  <a:gd name="connsiteY2" fmla="*/ 98372 h 136089"/>
                  <a:gd name="connsiteX3" fmla="*/ 67655 w 110892"/>
                  <a:gd name="connsiteY3" fmla="*/ 76965 h 136089"/>
                  <a:gd name="connsiteX4" fmla="*/ 38151 w 110892"/>
                  <a:gd name="connsiteY4" fmla="*/ 72887 h 136089"/>
                  <a:gd name="connsiteX5" fmla="*/ 3561 w 110892"/>
                  <a:gd name="connsiteY5" fmla="*/ 38228 h 136089"/>
                  <a:gd name="connsiteX6" fmla="*/ 54429 w 110892"/>
                  <a:gd name="connsiteY6" fmla="*/ 0 h 136089"/>
                  <a:gd name="connsiteX7" fmla="*/ 108349 w 110892"/>
                  <a:gd name="connsiteY7" fmla="*/ 40776 h 136089"/>
                  <a:gd name="connsiteX8" fmla="*/ 88002 w 110892"/>
                  <a:gd name="connsiteY8" fmla="*/ 40776 h 136089"/>
                  <a:gd name="connsiteX9" fmla="*/ 53412 w 110892"/>
                  <a:gd name="connsiteY9" fmla="*/ 15291 h 136089"/>
                  <a:gd name="connsiteX10" fmla="*/ 22891 w 110892"/>
                  <a:gd name="connsiteY10" fmla="*/ 36698 h 136089"/>
                  <a:gd name="connsiteX11" fmla="*/ 43747 w 110892"/>
                  <a:gd name="connsiteY11" fmla="*/ 55557 h 136089"/>
                  <a:gd name="connsiteX12" fmla="*/ 70707 w 110892"/>
                  <a:gd name="connsiteY12" fmla="*/ 59635 h 136089"/>
                  <a:gd name="connsiteX13" fmla="*/ 110893 w 110892"/>
                  <a:gd name="connsiteY13" fmla="*/ 97353 h 136089"/>
                  <a:gd name="connsiteX14" fmla="*/ 59007 w 110892"/>
                  <a:gd name="connsiteY14" fmla="*/ 136090 h 136089"/>
                  <a:gd name="connsiteX15" fmla="*/ 0 w 110892"/>
                  <a:gd name="connsiteY15" fmla="*/ 89198 h 136089"/>
                  <a:gd name="connsiteX16" fmla="*/ 18313 w 110892"/>
                  <a:gd name="connsiteY16" fmla="*/ 89198 h 13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0892" h="136089">
                    <a:moveTo>
                      <a:pt x="18313" y="89707"/>
                    </a:moveTo>
                    <a:cubicBezTo>
                      <a:pt x="19839" y="107037"/>
                      <a:pt x="29504" y="120799"/>
                      <a:pt x="59007" y="120799"/>
                    </a:cubicBezTo>
                    <a:cubicBezTo>
                      <a:pt x="81389" y="120799"/>
                      <a:pt x="90545" y="113153"/>
                      <a:pt x="90545" y="98372"/>
                    </a:cubicBezTo>
                    <a:cubicBezTo>
                      <a:pt x="90545" y="86139"/>
                      <a:pt x="83424" y="79513"/>
                      <a:pt x="67655" y="76965"/>
                    </a:cubicBezTo>
                    <a:lnTo>
                      <a:pt x="38151" y="72887"/>
                    </a:lnTo>
                    <a:cubicBezTo>
                      <a:pt x="15769" y="69829"/>
                      <a:pt x="3561" y="58106"/>
                      <a:pt x="3561" y="38228"/>
                    </a:cubicBezTo>
                    <a:cubicBezTo>
                      <a:pt x="3561" y="14781"/>
                      <a:pt x="22382" y="0"/>
                      <a:pt x="54429" y="0"/>
                    </a:cubicBezTo>
                    <a:cubicBezTo>
                      <a:pt x="88002" y="0"/>
                      <a:pt x="106823" y="16820"/>
                      <a:pt x="108349" y="40776"/>
                    </a:cubicBezTo>
                    <a:lnTo>
                      <a:pt x="88002" y="40776"/>
                    </a:lnTo>
                    <a:cubicBezTo>
                      <a:pt x="86985" y="27524"/>
                      <a:pt x="76811" y="15291"/>
                      <a:pt x="53412" y="15291"/>
                    </a:cubicBezTo>
                    <a:cubicBezTo>
                      <a:pt x="31538" y="15291"/>
                      <a:pt x="22891" y="23956"/>
                      <a:pt x="22891" y="36698"/>
                    </a:cubicBezTo>
                    <a:cubicBezTo>
                      <a:pt x="22891" y="45873"/>
                      <a:pt x="27469" y="53009"/>
                      <a:pt x="43747" y="55557"/>
                    </a:cubicBezTo>
                    <a:lnTo>
                      <a:pt x="70707" y="59635"/>
                    </a:lnTo>
                    <a:cubicBezTo>
                      <a:pt x="100210" y="64222"/>
                      <a:pt x="110893" y="76455"/>
                      <a:pt x="110893" y="97353"/>
                    </a:cubicBezTo>
                    <a:cubicBezTo>
                      <a:pt x="110893" y="123347"/>
                      <a:pt x="93089" y="136090"/>
                      <a:pt x="59007" y="136090"/>
                    </a:cubicBezTo>
                    <a:cubicBezTo>
                      <a:pt x="17295" y="136090"/>
                      <a:pt x="509" y="116212"/>
                      <a:pt x="0" y="89198"/>
                    </a:cubicBezTo>
                    <a:lnTo>
                      <a:pt x="18313" y="89198"/>
                    </a:ln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8" name="Freihandform 127">
                <a:extLst>
                  <a:ext uri="{FF2B5EF4-FFF2-40B4-BE49-F238E27FC236}">
                    <a16:creationId xmlns:a16="http://schemas.microsoft.com/office/drawing/2014/main" id="{A742ADAA-8AB9-FD43-B275-B59C8E9F6863}"/>
                  </a:ext>
                </a:extLst>
              </p:cNvPr>
              <p:cNvSpPr/>
              <p:nvPr/>
            </p:nvSpPr>
            <p:spPr>
              <a:xfrm>
                <a:off x="2029380" y="6199946"/>
                <a:ext cx="147517" cy="144754"/>
              </a:xfrm>
              <a:custGeom>
                <a:avLst/>
                <a:gdLst>
                  <a:gd name="connsiteX0" fmla="*/ 73759 w 147517"/>
                  <a:gd name="connsiteY0" fmla="*/ 0 h 144754"/>
                  <a:gd name="connsiteX1" fmla="*/ 0 w 147517"/>
                  <a:gd name="connsiteY1" fmla="*/ 72377 h 144754"/>
                  <a:gd name="connsiteX2" fmla="*/ 73759 w 147517"/>
                  <a:gd name="connsiteY2" fmla="*/ 144755 h 144754"/>
                  <a:gd name="connsiteX3" fmla="*/ 147518 w 147517"/>
                  <a:gd name="connsiteY3" fmla="*/ 72377 h 144754"/>
                  <a:gd name="connsiteX4" fmla="*/ 73759 w 147517"/>
                  <a:gd name="connsiteY4" fmla="*/ 0 h 144754"/>
                  <a:gd name="connsiteX5" fmla="*/ 73759 w 147517"/>
                  <a:gd name="connsiteY5" fmla="*/ 11723 h 144754"/>
                  <a:gd name="connsiteX6" fmla="*/ 105297 w 147517"/>
                  <a:gd name="connsiteY6" fmla="*/ 20388 h 144754"/>
                  <a:gd name="connsiteX7" fmla="*/ 89019 w 147517"/>
                  <a:gd name="connsiteY7" fmla="*/ 104488 h 144754"/>
                  <a:gd name="connsiteX8" fmla="*/ 70707 w 147517"/>
                  <a:gd name="connsiteY8" fmla="*/ 37718 h 144754"/>
                  <a:gd name="connsiteX9" fmla="*/ 61042 w 147517"/>
                  <a:gd name="connsiteY9" fmla="*/ 30582 h 144754"/>
                  <a:gd name="connsiteX10" fmla="*/ 50868 w 147517"/>
                  <a:gd name="connsiteY10" fmla="*/ 37718 h 144754"/>
                  <a:gd name="connsiteX11" fmla="*/ 35608 w 147517"/>
                  <a:gd name="connsiteY11" fmla="*/ 81552 h 144754"/>
                  <a:gd name="connsiteX12" fmla="*/ 27469 w 147517"/>
                  <a:gd name="connsiteY12" fmla="*/ 73397 h 144754"/>
                  <a:gd name="connsiteX13" fmla="*/ 14752 w 147517"/>
                  <a:gd name="connsiteY13" fmla="*/ 71868 h 144754"/>
                  <a:gd name="connsiteX14" fmla="*/ 12208 w 147517"/>
                  <a:gd name="connsiteY14" fmla="*/ 73397 h 144754"/>
                  <a:gd name="connsiteX15" fmla="*/ 11700 w 147517"/>
                  <a:gd name="connsiteY15" fmla="*/ 73397 h 144754"/>
                  <a:gd name="connsiteX16" fmla="*/ 11700 w 147517"/>
                  <a:gd name="connsiteY16" fmla="*/ 72887 h 144754"/>
                  <a:gd name="connsiteX17" fmla="*/ 73759 w 147517"/>
                  <a:gd name="connsiteY17" fmla="*/ 11723 h 144754"/>
                  <a:gd name="connsiteX18" fmla="*/ 73759 w 147517"/>
                  <a:gd name="connsiteY18" fmla="*/ 133032 h 144754"/>
                  <a:gd name="connsiteX19" fmla="*/ 12717 w 147517"/>
                  <a:gd name="connsiteY19" fmla="*/ 84100 h 144754"/>
                  <a:gd name="connsiteX20" fmla="*/ 13226 w 147517"/>
                  <a:gd name="connsiteY20" fmla="*/ 84100 h 144754"/>
                  <a:gd name="connsiteX21" fmla="*/ 16278 w 147517"/>
                  <a:gd name="connsiteY21" fmla="*/ 83081 h 144754"/>
                  <a:gd name="connsiteX22" fmla="*/ 19839 w 147517"/>
                  <a:gd name="connsiteY22" fmla="*/ 81042 h 144754"/>
                  <a:gd name="connsiteX23" fmla="*/ 28486 w 147517"/>
                  <a:gd name="connsiteY23" fmla="*/ 89707 h 144754"/>
                  <a:gd name="connsiteX24" fmla="*/ 38151 w 147517"/>
                  <a:gd name="connsiteY24" fmla="*/ 92765 h 144754"/>
                  <a:gd name="connsiteX25" fmla="*/ 46290 w 147517"/>
                  <a:gd name="connsiteY25" fmla="*/ 86139 h 144754"/>
                  <a:gd name="connsiteX26" fmla="*/ 61042 w 147517"/>
                  <a:gd name="connsiteY26" fmla="*/ 43325 h 144754"/>
                  <a:gd name="connsiteX27" fmla="*/ 79354 w 147517"/>
                  <a:gd name="connsiteY27" fmla="*/ 110605 h 144754"/>
                  <a:gd name="connsiteX28" fmla="*/ 89528 w 147517"/>
                  <a:gd name="connsiteY28" fmla="*/ 117741 h 144754"/>
                  <a:gd name="connsiteX29" fmla="*/ 90037 w 147517"/>
                  <a:gd name="connsiteY29" fmla="*/ 117741 h 144754"/>
                  <a:gd name="connsiteX30" fmla="*/ 100210 w 147517"/>
                  <a:gd name="connsiteY30" fmla="*/ 109076 h 144754"/>
                  <a:gd name="connsiteX31" fmla="*/ 115980 w 147517"/>
                  <a:gd name="connsiteY31" fmla="*/ 27014 h 144754"/>
                  <a:gd name="connsiteX32" fmla="*/ 136327 w 147517"/>
                  <a:gd name="connsiteY32" fmla="*/ 71868 h 144754"/>
                  <a:gd name="connsiteX33" fmla="*/ 73759 w 147517"/>
                  <a:gd name="connsiteY33" fmla="*/ 133032 h 14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7517" h="144754">
                    <a:moveTo>
                      <a:pt x="73759" y="0"/>
                    </a:moveTo>
                    <a:cubicBezTo>
                      <a:pt x="33064" y="0"/>
                      <a:pt x="0" y="32621"/>
                      <a:pt x="0" y="72377"/>
                    </a:cubicBezTo>
                    <a:cubicBezTo>
                      <a:pt x="0" y="112134"/>
                      <a:pt x="33064" y="144755"/>
                      <a:pt x="73759" y="144755"/>
                    </a:cubicBezTo>
                    <a:cubicBezTo>
                      <a:pt x="114454" y="144755"/>
                      <a:pt x="147518" y="112134"/>
                      <a:pt x="147518" y="72377"/>
                    </a:cubicBezTo>
                    <a:cubicBezTo>
                      <a:pt x="147518" y="32621"/>
                      <a:pt x="114454" y="0"/>
                      <a:pt x="73759" y="0"/>
                    </a:cubicBezTo>
                    <a:close/>
                    <a:moveTo>
                      <a:pt x="73759" y="11723"/>
                    </a:moveTo>
                    <a:cubicBezTo>
                      <a:pt x="85459" y="11723"/>
                      <a:pt x="96141" y="14781"/>
                      <a:pt x="105297" y="20388"/>
                    </a:cubicBezTo>
                    <a:lnTo>
                      <a:pt x="89019" y="104488"/>
                    </a:lnTo>
                    <a:lnTo>
                      <a:pt x="70707" y="37718"/>
                    </a:lnTo>
                    <a:cubicBezTo>
                      <a:pt x="69181" y="33640"/>
                      <a:pt x="65111" y="30582"/>
                      <a:pt x="61042" y="30582"/>
                    </a:cubicBezTo>
                    <a:cubicBezTo>
                      <a:pt x="56464" y="30582"/>
                      <a:pt x="52394" y="33131"/>
                      <a:pt x="50868" y="37718"/>
                    </a:cubicBezTo>
                    <a:lnTo>
                      <a:pt x="35608" y="81552"/>
                    </a:lnTo>
                    <a:lnTo>
                      <a:pt x="27469" y="73397"/>
                    </a:lnTo>
                    <a:cubicBezTo>
                      <a:pt x="23908" y="69829"/>
                      <a:pt x="18821" y="69319"/>
                      <a:pt x="14752" y="71868"/>
                    </a:cubicBezTo>
                    <a:lnTo>
                      <a:pt x="12208" y="73397"/>
                    </a:lnTo>
                    <a:lnTo>
                      <a:pt x="11700" y="73397"/>
                    </a:lnTo>
                    <a:cubicBezTo>
                      <a:pt x="11700" y="73397"/>
                      <a:pt x="11700" y="72887"/>
                      <a:pt x="11700" y="72887"/>
                    </a:cubicBezTo>
                    <a:cubicBezTo>
                      <a:pt x="11700" y="38737"/>
                      <a:pt x="39677" y="11723"/>
                      <a:pt x="73759" y="11723"/>
                    </a:cubicBezTo>
                    <a:close/>
                    <a:moveTo>
                      <a:pt x="73759" y="133032"/>
                    </a:moveTo>
                    <a:cubicBezTo>
                      <a:pt x="43747" y="133032"/>
                      <a:pt x="18312" y="112134"/>
                      <a:pt x="12717" y="84100"/>
                    </a:cubicBezTo>
                    <a:lnTo>
                      <a:pt x="13226" y="84100"/>
                    </a:lnTo>
                    <a:cubicBezTo>
                      <a:pt x="14243" y="84100"/>
                      <a:pt x="15260" y="83591"/>
                      <a:pt x="16278" y="83081"/>
                    </a:cubicBezTo>
                    <a:lnTo>
                      <a:pt x="19839" y="81042"/>
                    </a:lnTo>
                    <a:lnTo>
                      <a:pt x="28486" y="89707"/>
                    </a:lnTo>
                    <a:cubicBezTo>
                      <a:pt x="31029" y="92256"/>
                      <a:pt x="34590" y="93275"/>
                      <a:pt x="38151" y="92765"/>
                    </a:cubicBezTo>
                    <a:cubicBezTo>
                      <a:pt x="41712" y="92256"/>
                      <a:pt x="44764" y="89707"/>
                      <a:pt x="46290" y="86139"/>
                    </a:cubicBezTo>
                    <a:lnTo>
                      <a:pt x="61042" y="43325"/>
                    </a:lnTo>
                    <a:lnTo>
                      <a:pt x="79354" y="110605"/>
                    </a:lnTo>
                    <a:cubicBezTo>
                      <a:pt x="80880" y="115192"/>
                      <a:pt x="84950" y="117741"/>
                      <a:pt x="89528" y="117741"/>
                    </a:cubicBezTo>
                    <a:cubicBezTo>
                      <a:pt x="89528" y="117741"/>
                      <a:pt x="90037" y="117741"/>
                      <a:pt x="90037" y="117741"/>
                    </a:cubicBezTo>
                    <a:cubicBezTo>
                      <a:pt x="95124" y="117741"/>
                      <a:pt x="98684" y="114173"/>
                      <a:pt x="100210" y="109076"/>
                    </a:cubicBezTo>
                    <a:lnTo>
                      <a:pt x="115980" y="27014"/>
                    </a:lnTo>
                    <a:cubicBezTo>
                      <a:pt x="128188" y="38228"/>
                      <a:pt x="136327" y="54028"/>
                      <a:pt x="136327" y="71868"/>
                    </a:cubicBezTo>
                    <a:cubicBezTo>
                      <a:pt x="136327" y="106018"/>
                      <a:pt x="108349" y="133032"/>
                      <a:pt x="73759" y="133032"/>
                    </a:cubicBezTo>
                    <a:close/>
                  </a:path>
                </a:pathLst>
              </a:custGeom>
              <a:grpFill/>
              <a:ln w="5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7CBAF585-B3AA-5B45-960D-4547F61CC58F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2076676" y="6336000"/>
            <a:ext cx="9631767" cy="222711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98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41E1CEB-0F0C-E043-989C-6F25F8EF1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49E80B-2F20-4B46-8706-D37C1F3437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C9CF3E6-F087-C244-8E00-4B9FC9FE3E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4562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Roboto Slab" pitchFamily="2" charset="0"/>
                <a:ea typeface="Roboto Slab" pitchFamily="2" charset="0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F4EEE1A-E841-8641-B739-909D0A73A7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6418" y="365125"/>
            <a:ext cx="6701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DCECEA-888C-F446-979B-47B1FBF9BCE4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941119E-6BC9-1B42-9626-F4F8802BED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80733" y="6356350"/>
            <a:ext cx="56726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Roboto Slab" pitchFamily="2" charset="0"/>
                <a:ea typeface="Roboto Slab" pitchFamily="2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716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3" r:id="rId3"/>
    <p:sldLayoutId id="2147483664" r:id="rId4"/>
    <p:sldLayoutId id="2147483660" r:id="rId5"/>
    <p:sldLayoutId id="2147483698" r:id="rId6"/>
    <p:sldLayoutId id="2147483650" r:id="rId7"/>
    <p:sldLayoutId id="2147483651" r:id="rId8"/>
    <p:sldLayoutId id="2147483665" r:id="rId9"/>
    <p:sldLayoutId id="2147483666" r:id="rId10"/>
    <p:sldLayoutId id="2147483674" r:id="rId11"/>
    <p:sldLayoutId id="2147483671" r:id="rId12"/>
    <p:sldLayoutId id="2147483667" r:id="rId13"/>
    <p:sldLayoutId id="2147483668" r:id="rId14"/>
    <p:sldLayoutId id="2147483669" r:id="rId15"/>
    <p:sldLayoutId id="2147483675" r:id="rId16"/>
    <p:sldLayoutId id="2147483676" r:id="rId17"/>
    <p:sldLayoutId id="2147483679" r:id="rId18"/>
    <p:sldLayoutId id="2147483670" r:id="rId19"/>
    <p:sldLayoutId id="2147483681" r:id="rId20"/>
    <p:sldLayoutId id="2147483700" r:id="rId21"/>
    <p:sldLayoutId id="2147483701" r:id="rId22"/>
    <p:sldLayoutId id="2147483702" r:id="rId23"/>
    <p:sldLayoutId id="2147483677" r:id="rId24"/>
    <p:sldLayoutId id="2147483684" r:id="rId25"/>
    <p:sldLayoutId id="2147483678" r:id="rId26"/>
    <p:sldLayoutId id="2147483680" r:id="rId27"/>
    <p:sldLayoutId id="2147483682" r:id="rId28"/>
    <p:sldLayoutId id="2147483654" r:id="rId29"/>
    <p:sldLayoutId id="2147483655" r:id="rId30"/>
    <p:sldLayoutId id="2147483672" r:id="rId31"/>
    <p:sldLayoutId id="2147483673" r:id="rId32"/>
    <p:sldLayoutId id="2147483699" r:id="rId33"/>
  </p:sldLayoutIdLst>
  <p:hf hdr="0" ftr="0" dt="0"/>
  <p:txStyles>
    <p:titleStyle>
      <a:lvl1pPr marL="793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5200" b="1" kern="1200">
          <a:solidFill>
            <a:schemeClr val="tx1"/>
          </a:solidFill>
          <a:latin typeface="PP Telegraf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PP Telegraf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P Telegraf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P Telegraf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P Telegraf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P Telegraf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hyperlink" Target="http://www.businesskorea.co.kr/news/articleView.html?idxno=95728" TargetMode="External"/><Relationship Id="rId4" Type="http://schemas.openxmlformats.org/officeDocument/2006/relationships/hyperlink" Target="https://www.energy.gov/eere/solar/perovskite-solar-cells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oxfordpv.com/" TargetMode="External"/><Relationship Id="rId4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sauletech.com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hyperlink" Target="https://sauletech.com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rbes.com/profile/microquanta/?sh=7c9e715639af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news.mit.edu/2021/photovoltaic-efficiency-solar-0224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ature.com/articles/s41893-021-00701-x" TargetMode="External"/><Relationship Id="rId5" Type="http://schemas.openxmlformats.org/officeDocument/2006/relationships/hyperlink" Target="https://www.princeton.edu/news/2022/06/29/once-seen-fleeting-new-solar-tech-proves-its-lasting-power" TargetMode="External"/><Relationship Id="rId4" Type="http://schemas.openxmlformats.org/officeDocument/2006/relationships/hyperlink" Target="https://www.pv-magazine.com/2022/07/07/csem-epfl-achieve-31-25-efficiency-for-tandem-perovskite-silicon-solar-cell/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hyperlink" Target="https://www.perovskite-info.com/doe-awards-funding-3-perovskite-related-pv-projects" TargetMode="External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hyperlink" Target="https://pv-magazine-usa.com/2022/11/23/qcells-european-consortium-launch-production-line-for-tandem-silicon-perovskite-solar-cells/" TargetMode="External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10" Type="http://schemas.openxmlformats.org/officeDocument/2006/relationships/hyperlink" Target="https://www.globenewswire.com/" TargetMode="External"/><Relationship Id="rId4" Type="http://schemas.openxmlformats.org/officeDocument/2006/relationships/image" Target="../media/image5.jpeg"/><Relationship Id="rId9" Type="http://schemas.openxmlformats.org/officeDocument/2006/relationships/hyperlink" Target="https://www.fortunebusinessinsights.com/industry-reports/solar-power-market-100764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gate.net/figure/2-Evolution-of-the-energy-cost-in-dollars-per-watt-peaks-for-silicon-based-solar_fig4_329413496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a.org/reports/solar-pv" TargetMode="External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uronews.com/green/2022/12/20/eu-solar-power-soars-by-almost-50-in-2022-which-country-installed-the-most" TargetMode="External"/><Relationship Id="rId5" Type="http://schemas.openxmlformats.org/officeDocument/2006/relationships/hyperlink" Target="https://www.solarpowereurope.org/press-releases/new-market-report-2021-the-best-year-in-european-solar-history-2022-europe-set-to-hit-30-gw-installation-level" TargetMode="External"/><Relationship Id="rId4" Type="http://schemas.openxmlformats.org/officeDocument/2006/relationships/hyperlink" Target="https://www.csis.org/east-green-chinas-global-leadership-renewable-energy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olarmagazine.com/solar-panels/perovskite-solar-cells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atlas.com/energy/perovskite-silicon-solar-cells-30-percent-effic" TargetMode="External"/><Relationship Id="rId5" Type="http://schemas.openxmlformats.org/officeDocument/2006/relationships/hyperlink" Target="https://www.nature.com/articles/s41598-022-13418-4" TargetMode="External"/><Relationship Id="rId4" Type="http://schemas.openxmlformats.org/officeDocument/2006/relationships/hyperlink" Target="https://www.energy.gov/eere/solar/perovskite-solar-cell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hyperlink" Target="https://www.nanowerk.com/what-are-perovskites.php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rel.gov/pv/cell-efficiency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Perovskite Solar Cells: An In-Depth Guide + Comparisons With Other Techs">
            <a:extLst>
              <a:ext uri="{FF2B5EF4-FFF2-40B4-BE49-F238E27FC236}">
                <a16:creationId xmlns:a16="http://schemas.microsoft.com/office/drawing/2014/main" id="{0F3DBB78-3815-FD12-88A2-A08E9B8C20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0" r="1730" b="-1"/>
          <a:stretch/>
        </p:blipFill>
        <p:spPr bwMode="auto">
          <a:xfrm>
            <a:off x="-19495" y="0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-41009" y="17875"/>
            <a:ext cx="12274018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0CCDECB-BD40-FA4B-B3E1-A0DD82F50761}"/>
              </a:ext>
            </a:extLst>
          </p:cNvPr>
          <p:cNvSpPr txBox="1">
            <a:spLocks/>
          </p:cNvSpPr>
          <p:nvPr/>
        </p:nvSpPr>
        <p:spPr>
          <a:xfrm>
            <a:off x="385637" y="2283314"/>
            <a:ext cx="11233151" cy="1342547"/>
          </a:xfrm>
          <a:prstGeom prst="rect">
            <a:avLst/>
          </a:prstGeom>
        </p:spPr>
        <p:txBody>
          <a:bodyPr vert="horz" lIns="0" tIns="0" rIns="90000" bIns="45720" rtlCol="0" anchor="t">
            <a:noAutofit/>
          </a:bodyPr>
          <a:lstStyle>
            <a:lvl1pPr marL="7938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/>
              <a:defRPr sz="5200" b="1" kern="1200">
                <a:solidFill>
                  <a:schemeClr val="bg2"/>
                </a:solidFill>
                <a:latin typeface="PP Telegraf" pitchFamily="2" charset="77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Perovskites </a:t>
            </a:r>
          </a:p>
          <a:p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as an emerging solution on the solar marke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1319EAF-3FB4-574C-937D-77AEB4594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637" y="5689563"/>
            <a:ext cx="5256214" cy="365125"/>
          </a:xfrm>
        </p:spPr>
        <p:txBody>
          <a:bodyPr/>
          <a:lstStyle/>
          <a:p>
            <a:r>
              <a:rPr lang="en-US" dirty="0"/>
              <a:t>Klaudia Gnyla</a:t>
            </a:r>
          </a:p>
          <a:p>
            <a:r>
              <a:rPr lang="en-US" dirty="0"/>
              <a:t>December 2022</a:t>
            </a:r>
          </a:p>
        </p:txBody>
      </p:sp>
    </p:spTree>
    <p:extLst>
      <p:ext uri="{BB962C8B-B14F-4D97-AF65-F5344CB8AC3E}">
        <p14:creationId xmlns:p14="http://schemas.microsoft.com/office/powerpoint/2010/main" val="1000952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BDB15DF-0A8A-0698-A171-60D5E834C558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38">
            <a:extLst>
              <a:ext uri="{FF2B5EF4-FFF2-40B4-BE49-F238E27FC236}">
                <a16:creationId xmlns:a16="http://schemas.microsoft.com/office/drawing/2014/main" id="{68EB8FCA-D168-C700-CA49-DDDC48F39BE2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5 | Perovskite market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545DFA43-58DE-365E-6245-F15E5329F840}"/>
              </a:ext>
            </a:extLst>
          </p:cNvPr>
          <p:cNvSpPr txBox="1">
            <a:spLocks/>
          </p:cNvSpPr>
          <p:nvPr/>
        </p:nvSpPr>
        <p:spPr>
          <a:xfrm>
            <a:off x="479423" y="1052531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The perovskite market is still small, but it is prognosed to grow 10x until 2030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141C7B1-8A49-CB43-936C-A5FB85BE2F24}"/>
              </a:ext>
            </a:extLst>
          </p:cNvPr>
          <p:cNvSpPr txBox="1"/>
          <p:nvPr/>
        </p:nvSpPr>
        <p:spPr>
          <a:xfrm>
            <a:off x="6044563" y="5673166"/>
            <a:ext cx="50606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CAGR </a:t>
            </a:r>
            <a:r>
              <a:rPr lang="de-DE" sz="2000" b="1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31.8% </a:t>
            </a:r>
            <a:r>
              <a:rPr lang="de-DE" sz="2000" b="1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de-DE" sz="2000" b="1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de-DE" sz="2000" b="1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de-DE" sz="2000" b="1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 2030</a:t>
            </a:r>
          </a:p>
          <a:p>
            <a:pPr algn="ctr"/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605D20C-3E87-38E5-8DE5-144D142C55B2}"/>
              </a:ext>
            </a:extLst>
          </p:cNvPr>
          <p:cNvSpPr txBox="1"/>
          <p:nvPr/>
        </p:nvSpPr>
        <p:spPr>
          <a:xfrm>
            <a:off x="5539003" y="6502851"/>
            <a:ext cx="63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>
                <a:solidFill>
                  <a:schemeClr val="accent4"/>
                </a:solidFill>
              </a:rPr>
              <a:t>https://www.researchnester.com/reports/perovskite-solar-cells-market/513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4D5094A-C930-8A61-9230-0827B024E3C3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1403280E-E6BF-0C30-9D72-5221CC9137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0745229"/>
              </p:ext>
            </p:extLst>
          </p:nvPr>
        </p:nvGraphicFramePr>
        <p:xfrm>
          <a:off x="5173798" y="1632801"/>
          <a:ext cx="6686106" cy="3626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99BE06D7-B43C-C3EE-AFE9-CC30816B978F}"/>
              </a:ext>
            </a:extLst>
          </p:cNvPr>
          <p:cNvSpPr txBox="1"/>
          <p:nvPr/>
        </p:nvSpPr>
        <p:spPr>
          <a:xfrm>
            <a:off x="460761" y="2014700"/>
            <a:ext cx="5133970" cy="8402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rke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young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-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r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no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ompan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roducing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at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ss-scale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PP Telegraf"/>
              </a:rPr>
              <a:t>The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in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ocu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rke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ar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now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andem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.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Howeve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r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ar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om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ompanie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going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ommercial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ith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‚pure‘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solar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s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PP Telegraf"/>
              </a:rPr>
              <a:t>As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hol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PV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rke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 China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also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onsidere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leader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PP Telegraf"/>
              </a:rPr>
              <a:t>Howeve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hen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ome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EU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rke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hav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tronges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R&amp;D,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n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ompanie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pecializing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and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vicinit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ineral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witzerlan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tal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and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weden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138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0E087400-E709-A9CB-7BA5-0686C73DCE05}"/>
              </a:ext>
            </a:extLst>
          </p:cNvPr>
          <p:cNvSpPr/>
          <p:nvPr/>
        </p:nvSpPr>
        <p:spPr>
          <a:xfrm>
            <a:off x="6025901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Text Placeholder 38">
            <a:extLst>
              <a:ext uri="{FF2B5EF4-FFF2-40B4-BE49-F238E27FC236}">
                <a16:creationId xmlns:a16="http://schemas.microsoft.com/office/drawing/2014/main" id="{9953E569-D6F2-1DBC-29B1-82437DE795F6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5 | Perovskite market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AAB337D5-6509-3EA4-D229-BD4D499E4D60}"/>
              </a:ext>
            </a:extLst>
          </p:cNvPr>
          <p:cNvSpPr txBox="1">
            <a:spLocks/>
          </p:cNvSpPr>
          <p:nvPr/>
        </p:nvSpPr>
        <p:spPr>
          <a:xfrm>
            <a:off x="479423" y="1052531"/>
            <a:ext cx="11229019" cy="7470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There are two interesting solutions on the perovskite cell market - perovskite-Si tandem cells and perovskites for IoT solu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819C106-C380-9C2B-79D4-E7A921D533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524" y="2001534"/>
            <a:ext cx="2281462" cy="131217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F3AB690-3B88-12D4-C6C4-5ABC07420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524" y="3544296"/>
            <a:ext cx="2281462" cy="232949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09CF23E9-2185-EA21-F989-8984FCCAFB5E}"/>
              </a:ext>
            </a:extLst>
          </p:cNvPr>
          <p:cNvSpPr txBox="1"/>
          <p:nvPr/>
        </p:nvSpPr>
        <p:spPr>
          <a:xfrm>
            <a:off x="3054486" y="6261753"/>
            <a:ext cx="9046724" cy="710119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r"/>
            <a:r>
              <a:rPr lang="de-DE" sz="1200" dirty="0">
                <a:solidFill>
                  <a:schemeClr val="accent4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nergy.gov/eere/solar/perovskite-solar-cells</a:t>
            </a:r>
            <a:endParaRPr lang="de-DE" sz="1200" dirty="0">
              <a:solidFill>
                <a:schemeClr val="accent4"/>
              </a:solidFill>
            </a:endParaRPr>
          </a:p>
          <a:p>
            <a:pPr algn="r"/>
            <a:r>
              <a:rPr lang="de-DE" sz="1200" dirty="0">
                <a:solidFill>
                  <a:schemeClr val="accent4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businesskorea.co.kr/news/articleView.html?idxno=95728</a:t>
            </a:r>
            <a:endParaRPr lang="de-DE" sz="1200" dirty="0">
              <a:solidFill>
                <a:schemeClr val="accent4"/>
              </a:solidFill>
            </a:endParaRPr>
          </a:p>
          <a:p>
            <a:pPr algn="r"/>
            <a:r>
              <a:rPr lang="de-DE" sz="1200" dirty="0">
                <a:solidFill>
                  <a:schemeClr val="accent4"/>
                </a:solidFill>
              </a:rPr>
              <a:t>https://www.ajudaily.com/view/20220610170241279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DC1C033-75E9-1D04-F182-001F98285C4C}"/>
              </a:ext>
            </a:extLst>
          </p:cNvPr>
          <p:cNvSpPr txBox="1"/>
          <p:nvPr/>
        </p:nvSpPr>
        <p:spPr>
          <a:xfrm>
            <a:off x="3262768" y="1986739"/>
            <a:ext cx="2684294" cy="1370434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Si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ddres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different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rt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light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pectrum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1F3ACB6-9F52-9766-95F7-633B621881CD}"/>
              </a:ext>
            </a:extLst>
          </p:cNvPr>
          <p:cNvSpPr txBox="1"/>
          <p:nvPr/>
        </p:nvSpPr>
        <p:spPr>
          <a:xfrm>
            <a:off x="3262767" y="3544295"/>
            <a:ext cx="2684295" cy="2329493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-Si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andem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impl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andwic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ilico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on top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t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The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recor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efficienc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or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uch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b="1" dirty="0">
                <a:solidFill>
                  <a:schemeClr val="bg1">
                    <a:lumMod val="95000"/>
                  </a:schemeClr>
                </a:solidFill>
              </a:rPr>
              <a:t>31.25%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8302B89-42E5-95A8-8E95-4DA10C4B7632}"/>
              </a:ext>
            </a:extLst>
          </p:cNvPr>
          <p:cNvCxnSpPr/>
          <p:nvPr/>
        </p:nvCxnSpPr>
        <p:spPr>
          <a:xfrm>
            <a:off x="6044563" y="1846272"/>
            <a:ext cx="0" cy="4366726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F884701D-03FE-3E19-224F-FF8ED4456B2E}"/>
              </a:ext>
            </a:extLst>
          </p:cNvPr>
          <p:cNvSpPr txBox="1"/>
          <p:nvPr/>
        </p:nvSpPr>
        <p:spPr>
          <a:xfrm>
            <a:off x="6199221" y="1990861"/>
            <a:ext cx="5401152" cy="2627796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lexibilit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ir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goo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formanc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in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rtificia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light* and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lightnes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ntroduc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new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ay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usag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– in-house and on-cars</a:t>
            </a: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Price ta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Panels on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al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nsid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building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Phone/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backpack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harger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On-ca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9630E64-779F-830E-BE78-DFDE35095B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9221" y="4241237"/>
            <a:ext cx="3010897" cy="168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5FC8574D-A6E1-5AE5-F0EF-4ACA955F22DB}"/>
              </a:ext>
            </a:extLst>
          </p:cNvPr>
          <p:cNvSpPr txBox="1"/>
          <p:nvPr/>
        </p:nvSpPr>
        <p:spPr>
          <a:xfrm>
            <a:off x="9414588" y="4236099"/>
            <a:ext cx="2293851" cy="1665682"/>
          </a:xfrm>
          <a:prstGeom prst="rect">
            <a:avLst/>
          </a:prstGeom>
        </p:spPr>
        <p:txBody>
          <a:bodyPr vert="horz" wrap="square" lIns="0" tIns="0" rIns="0" bIns="0" rtlCol="0" anchor="t">
            <a:normAutofit fontScale="25000" lnSpcReduction="20000"/>
          </a:bodyPr>
          <a:lstStyle/>
          <a:p>
            <a:pPr algn="ctr"/>
            <a:endParaRPr lang="en-US" sz="5400" dirty="0">
              <a:solidFill>
                <a:schemeClr val="bg1"/>
              </a:solidFill>
            </a:endParaRPr>
          </a:p>
          <a:p>
            <a:pPr algn="ctr"/>
            <a:endParaRPr lang="en-US" sz="5400" dirty="0">
              <a:solidFill>
                <a:schemeClr val="bg1"/>
              </a:solidFill>
            </a:endParaRPr>
          </a:p>
          <a:p>
            <a:pPr algn="ctr"/>
            <a:r>
              <a:rPr lang="en-US" sz="5400" dirty="0">
                <a:solidFill>
                  <a:schemeClr val="bg1"/>
                </a:solidFill>
              </a:rPr>
              <a:t>T</a:t>
            </a:r>
            <a:r>
              <a:rPr lang="en-US" sz="5400" b="0" i="0" dirty="0">
                <a:solidFill>
                  <a:schemeClr val="bg1"/>
                </a:solidFill>
                <a:effectLst/>
              </a:rPr>
              <a:t>he Ulsan National Institute of Science and Technology started collaboration with Hyundai in order to develop perovskite-silicon tandem cells and apply them to solar roofs </a:t>
            </a:r>
            <a:endParaRPr lang="de-DE" sz="5200" dirty="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0552793-CC69-3FD0-090B-269320934146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2971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FBC768D-F6C7-4561-3500-2CCEB081B422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AC68FB16-4CA5-084A-48B7-677A25B54D1F}"/>
              </a:ext>
            </a:extLst>
          </p:cNvPr>
          <p:cNvSpPr txBox="1">
            <a:spLocks/>
          </p:cNvSpPr>
          <p:nvPr/>
        </p:nvSpPr>
        <p:spPr>
          <a:xfrm>
            <a:off x="479423" y="297864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6 | Key player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5DB21010-1941-556B-D95A-6F10FA1F7F2C}"/>
              </a:ext>
            </a:extLst>
          </p:cNvPr>
          <p:cNvSpPr txBox="1">
            <a:spLocks/>
          </p:cNvSpPr>
          <p:nvPr/>
        </p:nvSpPr>
        <p:spPr>
          <a:xfrm>
            <a:off x="479423" y="1052530"/>
            <a:ext cx="11229019" cy="692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Oxford Photovoltaics focuses on silicon-perovskite tandem cell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0720C66-6C23-0754-E7F3-CF9FCD759A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942" y="3048485"/>
            <a:ext cx="3616878" cy="2766081"/>
          </a:xfrm>
          <a:prstGeom prst="rect">
            <a:avLst/>
          </a:prstGeom>
        </p:spPr>
      </p:pic>
      <p:pic>
        <p:nvPicPr>
          <p:cNvPr id="1026" name="Picture 2" descr="Oxford PV collaborates with HZB to move perovskite solar cells closer to  commercialisation - Helmholtz-Zentrum Berlin (HZB)">
            <a:extLst>
              <a:ext uri="{FF2B5EF4-FFF2-40B4-BE49-F238E27FC236}">
                <a16:creationId xmlns:a16="http://schemas.microsoft.com/office/drawing/2014/main" id="{5FCB83C4-581F-F133-2B95-73C4545A41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42" y="1649422"/>
            <a:ext cx="4750059" cy="1147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DB182D2-698D-4AEE-F08A-6B75127F2FD1}"/>
              </a:ext>
            </a:extLst>
          </p:cNvPr>
          <p:cNvSpPr txBox="1"/>
          <p:nvPr/>
        </p:nvSpPr>
        <p:spPr>
          <a:xfrm flipH="1">
            <a:off x="5977587" y="1649422"/>
            <a:ext cx="53777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  <a:latin typeface="PP Telegraf"/>
              </a:rPr>
              <a:t>Thei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ain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ocu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ar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ilicon-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andem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s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C64B4A6-96E3-88A6-700A-624658FD734C}"/>
              </a:ext>
            </a:extLst>
          </p:cNvPr>
          <p:cNvSpPr txBox="1"/>
          <p:nvPr/>
        </p:nvSpPr>
        <p:spPr>
          <a:xfrm>
            <a:off x="5977587" y="2295753"/>
            <a:ext cx="49125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PP Telegraf"/>
              </a:rPr>
              <a:t>R&amp;D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departmen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lace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 Oxford,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actor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 Brandenburg an der Havel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D70660D-9A01-8723-3046-CFB532454A11}"/>
              </a:ext>
            </a:extLst>
          </p:cNvPr>
          <p:cNvSpPr txBox="1"/>
          <p:nvPr/>
        </p:nvSpPr>
        <p:spPr>
          <a:xfrm>
            <a:off x="5977587" y="3246966"/>
            <a:ext cx="49125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achieve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29.52%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efficienc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(2020) </a:t>
            </a:r>
          </a:p>
          <a:p>
            <a:r>
              <a:rPr lang="de-DE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andem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hich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was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orl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recor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an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solar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back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n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.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Howeve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redic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ell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ith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27%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efficienc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(24%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energ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yiel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)</a:t>
            </a: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3EDFA6-FF7A-EC33-F858-07A57474FCC5}"/>
              </a:ext>
            </a:extLst>
          </p:cNvPr>
          <p:cNvSpPr txBox="1"/>
          <p:nvPr/>
        </p:nvSpPr>
        <p:spPr>
          <a:xfrm>
            <a:off x="5977587" y="4751440"/>
            <a:ext cx="3686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PP Telegraf"/>
              </a:rPr>
              <a:t>Opening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roduction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lin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u="sng" dirty="0">
                <a:solidFill>
                  <a:schemeClr val="bg1"/>
                </a:solidFill>
                <a:latin typeface="PP Telegraf"/>
              </a:rPr>
              <a:t>2023</a:t>
            </a:r>
            <a:endParaRPr lang="de-DE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5043344-79E8-33DA-A299-2B9F190A6E5E}"/>
              </a:ext>
            </a:extLst>
          </p:cNvPr>
          <p:cNvSpPr txBox="1"/>
          <p:nvPr/>
        </p:nvSpPr>
        <p:spPr>
          <a:xfrm>
            <a:off x="4627984" y="5177398"/>
            <a:ext cx="626219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PP Telegraf"/>
              </a:rPr>
              <a:t>FUNDING</a:t>
            </a:r>
          </a:p>
          <a:p>
            <a:r>
              <a:rPr lang="de-DE" sz="1600" dirty="0">
                <a:solidFill>
                  <a:schemeClr val="bg1"/>
                </a:solidFill>
                <a:latin typeface="PP Telegraf"/>
              </a:rPr>
              <a:t>In total - $141.9M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10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rounds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last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one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was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raised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July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2019</a:t>
            </a:r>
          </a:p>
          <a:p>
            <a:r>
              <a:rPr lang="de-DE" sz="1600" dirty="0" err="1">
                <a:solidFill>
                  <a:schemeClr val="bg1"/>
                </a:solidFill>
                <a:latin typeface="PP Telegraf"/>
              </a:rPr>
              <a:t>from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Series D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round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65M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pounds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  (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Goldwind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sz="1600" dirty="0" err="1">
                <a:solidFill>
                  <a:schemeClr val="bg1"/>
                </a:solidFill>
                <a:latin typeface="PP Telegraf"/>
              </a:rPr>
              <a:t>Equinor</a:t>
            </a:r>
            <a:r>
              <a:rPr lang="de-DE" sz="1600" dirty="0">
                <a:solidFill>
                  <a:schemeClr val="bg1"/>
                </a:solidFill>
                <a:latin typeface="PP Telegraf"/>
              </a:rPr>
              <a:t>, Legal &amp; General Capital, Meyer Burger Technology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945D143-297A-4E28-6780-B7F03998C4EF}"/>
              </a:ext>
            </a:extLst>
          </p:cNvPr>
          <p:cNvSpPr txBox="1"/>
          <p:nvPr/>
        </p:nvSpPr>
        <p:spPr>
          <a:xfrm>
            <a:off x="4627984" y="6503436"/>
            <a:ext cx="7305869" cy="429935"/>
          </a:xfrm>
          <a:prstGeom prst="rect">
            <a:avLst/>
          </a:prstGeom>
        </p:spPr>
        <p:txBody>
          <a:bodyPr vert="horz" wrap="square" lIns="0" tIns="0" rIns="0" bIns="0" rtlCol="0" anchor="t">
            <a:normAutofit fontScale="92500"/>
          </a:bodyPr>
          <a:lstStyle/>
          <a:p>
            <a:pPr algn="r"/>
            <a:r>
              <a:rPr lang="de-DE" sz="1200" dirty="0">
                <a:solidFill>
                  <a:schemeClr val="accent4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oxfordpv.com/</a:t>
            </a:r>
            <a:endParaRPr lang="de-DE" sz="1200" dirty="0">
              <a:solidFill>
                <a:schemeClr val="accent4"/>
              </a:solidFill>
            </a:endParaRPr>
          </a:p>
          <a:p>
            <a:pPr algn="r"/>
            <a:r>
              <a:rPr lang="de-DE" sz="1200" dirty="0">
                <a:solidFill>
                  <a:schemeClr val="accent4"/>
                </a:solidFill>
              </a:rPr>
              <a:t>https://www.reuters.com/business/energy/perovskite-solar-goes-commercial-yield-gains-align-with-market-forces-2023-02-02/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937B15B-2D23-F0F4-3E2C-E56900AE23B2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4064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9DD84714-2D17-3B61-07F4-00ECCDF31C73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472316E8-5D10-7370-94AF-9D7CA8F364C4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6 | Key player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25A1C5BC-C18D-5C03-5E25-70F108B3CFD4}"/>
              </a:ext>
            </a:extLst>
          </p:cNvPr>
          <p:cNvSpPr txBox="1">
            <a:spLocks/>
          </p:cNvSpPr>
          <p:nvPr/>
        </p:nvSpPr>
        <p:spPr>
          <a:xfrm>
            <a:off x="479423" y="1052530"/>
            <a:ext cx="11229019" cy="692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 err="1">
                <a:solidFill>
                  <a:schemeClr val="bg1"/>
                </a:solidFill>
              </a:rPr>
              <a:t>Saule</a:t>
            </a:r>
            <a:r>
              <a:rPr lang="en-GB" sz="2400" b="1" dirty="0">
                <a:solidFill>
                  <a:schemeClr val="bg1"/>
                </a:solidFill>
              </a:rPr>
              <a:t> Technologies is one of the key players on the perovskite marke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F159DCB-F4A4-9189-EA99-1D6F303C8F25}"/>
              </a:ext>
            </a:extLst>
          </p:cNvPr>
          <p:cNvSpPr txBox="1"/>
          <p:nvPr/>
        </p:nvSpPr>
        <p:spPr>
          <a:xfrm>
            <a:off x="10551882" y="6311971"/>
            <a:ext cx="154241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100" dirty="0"/>
          </a:p>
          <a:p>
            <a:r>
              <a:rPr lang="de-DE" sz="1100" dirty="0">
                <a:solidFill>
                  <a:schemeClr val="accent4"/>
                </a:solidFill>
                <a:latin typeface="PP Telegraf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auletech.com/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</a:t>
            </a:r>
          </a:p>
        </p:txBody>
      </p:sp>
      <p:pic>
        <p:nvPicPr>
          <p:cNvPr id="6" name="Picture 2" descr="Corporate information – Saule Technologies">
            <a:extLst>
              <a:ext uri="{FF2B5EF4-FFF2-40B4-BE49-F238E27FC236}">
                <a16:creationId xmlns:a16="http://schemas.microsoft.com/office/drawing/2014/main" id="{3F8A59CA-A172-2108-9439-FEF10C0A4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89" y="3256382"/>
            <a:ext cx="45720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Saule Technologies – Inkjet-Printed Perovskite Solar Cells">
            <a:extLst>
              <a:ext uri="{FF2B5EF4-FFF2-40B4-BE49-F238E27FC236}">
                <a16:creationId xmlns:a16="http://schemas.microsoft.com/office/drawing/2014/main" id="{ED489F64-8C93-2D2A-18FC-E776F226B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89" y="1811117"/>
            <a:ext cx="4572000" cy="1241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8C7EACC8-272F-52F6-83E9-441F9EB347EF}"/>
              </a:ext>
            </a:extLst>
          </p:cNvPr>
          <p:cNvSpPr txBox="1">
            <a:spLocks/>
          </p:cNvSpPr>
          <p:nvPr/>
        </p:nvSpPr>
        <p:spPr>
          <a:xfrm>
            <a:off x="6233658" y="1811117"/>
            <a:ext cx="4836965" cy="1080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  <a:latin typeface="PP Telegraf"/>
              </a:rPr>
              <a:t>The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CTO‘s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work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was a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catalyst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explosive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growth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sz="18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800" dirty="0" err="1">
                <a:solidFill>
                  <a:schemeClr val="bg1"/>
                </a:solidFill>
                <a:latin typeface="PP Telegraf"/>
              </a:rPr>
              <a:t>research</a:t>
            </a:r>
            <a:endParaRPr lang="de-DE" sz="1800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BBF313C-63E5-69B7-8237-7A023460108C}"/>
              </a:ext>
            </a:extLst>
          </p:cNvPr>
          <p:cNvSpPr txBox="1"/>
          <p:nvPr/>
        </p:nvSpPr>
        <p:spPr>
          <a:xfrm>
            <a:off x="6571240" y="2682908"/>
            <a:ext cx="416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PP Telegraf"/>
              </a:rPr>
              <a:t>First in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worl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ndustrial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line</a:t>
            </a:r>
            <a:endParaRPr lang="de-DE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1F89D5-0F47-FC1A-DE09-14B7B498B2DC}"/>
              </a:ext>
            </a:extLst>
          </p:cNvPr>
          <p:cNvSpPr txBox="1"/>
          <p:nvPr/>
        </p:nvSpPr>
        <p:spPr>
          <a:xfrm>
            <a:off x="5932517" y="3256382"/>
            <a:ext cx="4512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roduc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anel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b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nk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-jet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rinting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onto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PET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oil</a:t>
            </a:r>
            <a:endParaRPr lang="de-DE" dirty="0">
              <a:solidFill>
                <a:schemeClr val="bg1"/>
              </a:solidFill>
              <a:latin typeface="PP Telegraf"/>
            </a:endParaRP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29C1FCE-B39E-6940-EB38-6C805EBC949E}"/>
              </a:ext>
            </a:extLst>
          </p:cNvPr>
          <p:cNvCxnSpPr>
            <a:cxnSpLocks/>
          </p:cNvCxnSpPr>
          <p:nvPr/>
        </p:nvCxnSpPr>
        <p:spPr>
          <a:xfrm flipV="1">
            <a:off x="527100" y="3150803"/>
            <a:ext cx="10977545" cy="1665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E678476F-3E14-3093-D6A6-AFD00D8F45FE}"/>
              </a:ext>
            </a:extLst>
          </p:cNvPr>
          <p:cNvSpPr txBox="1"/>
          <p:nvPr/>
        </p:nvSpPr>
        <p:spPr>
          <a:xfrm>
            <a:off x="5932517" y="4242887"/>
            <a:ext cx="56994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PP Telegraf"/>
              </a:rPr>
              <a:t>25.5%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efficienc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oT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application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, 31%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efficienc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     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door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ells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and 10%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efficiency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on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sun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(</a:t>
            </a:r>
            <a:r>
              <a:rPr lang="de-DE" b="0" i="0" dirty="0">
                <a:solidFill>
                  <a:schemeClr val="bg1"/>
                </a:solidFill>
                <a:effectLst/>
                <a:latin typeface="PP Telegraf"/>
              </a:rPr>
              <a:t>AM1.5G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)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65DC409-2AA1-D623-985E-58BE41549588}"/>
              </a:ext>
            </a:extLst>
          </p:cNvPr>
          <p:cNvSpPr txBox="1"/>
          <p:nvPr/>
        </p:nvSpPr>
        <p:spPr>
          <a:xfrm>
            <a:off x="5929092" y="5229392"/>
            <a:ext cx="49784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/>
                </a:solidFill>
                <a:latin typeface="PP Telegraf"/>
              </a:rPr>
              <a:t>First in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world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industrial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line</a:t>
            </a:r>
            <a:endParaRPr lang="de-DE" sz="2000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F443A3E-E0C2-B508-3D3F-26ABDB81E582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6394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75EB34-9B5A-6D11-B978-DD708B4F83E5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657A8D7C-1AF5-0F54-9CDE-489796C06146}"/>
              </a:ext>
            </a:extLst>
          </p:cNvPr>
          <p:cNvSpPr txBox="1">
            <a:spLocks/>
          </p:cNvSpPr>
          <p:nvPr/>
        </p:nvSpPr>
        <p:spPr>
          <a:xfrm>
            <a:off x="479423" y="297864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6 | Key player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E3AA7DA8-E1D9-BFA6-9902-4D67C548D005}"/>
              </a:ext>
            </a:extLst>
          </p:cNvPr>
          <p:cNvSpPr txBox="1">
            <a:spLocks/>
          </p:cNvSpPr>
          <p:nvPr/>
        </p:nvSpPr>
        <p:spPr>
          <a:xfrm>
            <a:off x="479423" y="1052530"/>
            <a:ext cx="11229019" cy="692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 err="1">
                <a:solidFill>
                  <a:schemeClr val="bg1"/>
                </a:solidFill>
              </a:rPr>
              <a:t>Saule</a:t>
            </a:r>
            <a:r>
              <a:rPr lang="en-GB" sz="2400" b="1" dirty="0">
                <a:solidFill>
                  <a:schemeClr val="bg1"/>
                </a:solidFill>
              </a:rPr>
              <a:t> Technology focuses on IoT products now, their solutions base on transparent perovskite cell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146A0C-FA2C-8410-734B-50EE9A5609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2" y="3483597"/>
            <a:ext cx="1893917" cy="118022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950C42E-4537-72D0-A560-386392FFC9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8038" y="3480732"/>
            <a:ext cx="2306476" cy="118308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94CCCDD-E5EF-70B2-D474-889CFB3FED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192" y="4923985"/>
            <a:ext cx="2104429" cy="105540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93601C3-74B1-85A9-CD5F-EB9190B9F4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192" y="1934015"/>
            <a:ext cx="4493322" cy="128941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A40FE0E-6EDD-0522-C5C4-729168539FBD}"/>
              </a:ext>
            </a:extLst>
          </p:cNvPr>
          <p:cNvSpPr txBox="1"/>
          <p:nvPr/>
        </p:nvSpPr>
        <p:spPr>
          <a:xfrm>
            <a:off x="5584135" y="2281634"/>
            <a:ext cx="5620769" cy="2831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00" b="1" dirty="0">
              <a:solidFill>
                <a:schemeClr val="bg1"/>
              </a:solidFill>
            </a:endParaRPr>
          </a:p>
          <a:p>
            <a:r>
              <a:rPr lang="de-DE" sz="2000" dirty="0">
                <a:solidFill>
                  <a:schemeClr val="bg1"/>
                </a:solidFill>
                <a:latin typeface="PP Telegraf"/>
              </a:rPr>
              <a:t>In September 2020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received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€10M </a:t>
            </a:r>
          </a:p>
          <a:p>
            <a:r>
              <a:rPr lang="de-DE" sz="2000" dirty="0" err="1">
                <a:solidFill>
                  <a:schemeClr val="bg1"/>
                </a:solidFill>
                <a:latin typeface="PP Telegraf"/>
              </a:rPr>
              <a:t>from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Columbus Energy</a:t>
            </a: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  <a:p>
            <a:r>
              <a:rPr lang="de-DE" sz="2000" dirty="0" err="1">
                <a:solidFill>
                  <a:schemeClr val="bg1"/>
                </a:solidFill>
                <a:latin typeface="PP Telegraf"/>
              </a:rPr>
              <a:t>Went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public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without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IPO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through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a reverse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merger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sz="20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a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shell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company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Blumerang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Investors (May 2022)</a:t>
            </a:r>
          </a:p>
          <a:p>
            <a:endParaRPr lang="de-DE" sz="2000" dirty="0">
              <a:solidFill>
                <a:schemeClr val="bg1"/>
              </a:solidFill>
              <a:latin typeface="PP Telegraf"/>
            </a:endParaRPr>
          </a:p>
          <a:p>
            <a:r>
              <a:rPr lang="de-DE" sz="2000" dirty="0" err="1">
                <a:solidFill>
                  <a:schemeClr val="bg1"/>
                </a:solidFill>
                <a:latin typeface="PP Telegraf"/>
              </a:rPr>
              <a:t>Now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together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with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Google Cloud and </a:t>
            </a:r>
          </a:p>
          <a:p>
            <a:r>
              <a:rPr lang="de-DE" sz="2000" dirty="0">
                <a:solidFill>
                  <a:schemeClr val="bg1"/>
                </a:solidFill>
                <a:latin typeface="PP Telegraf"/>
              </a:rPr>
              <a:t>Columbus Energy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working</a:t>
            </a:r>
            <a:r>
              <a:rPr lang="de-DE" sz="2000" dirty="0">
                <a:solidFill>
                  <a:schemeClr val="bg1"/>
                </a:solidFill>
                <a:latin typeface="PP Telegraf"/>
              </a:rPr>
              <a:t> on IoT </a:t>
            </a:r>
            <a:r>
              <a:rPr lang="de-DE" sz="2000" dirty="0" err="1">
                <a:solidFill>
                  <a:schemeClr val="bg1"/>
                </a:solidFill>
                <a:latin typeface="PP Telegraf"/>
              </a:rPr>
              <a:t>solutions</a:t>
            </a:r>
            <a:endParaRPr lang="de-DE" sz="2000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CED1838-E4F9-4834-3D71-F464733F9E72}"/>
              </a:ext>
            </a:extLst>
          </p:cNvPr>
          <p:cNvSpPr txBox="1"/>
          <p:nvPr/>
        </p:nvSpPr>
        <p:spPr>
          <a:xfrm>
            <a:off x="10551882" y="6311971"/>
            <a:ext cx="154241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100" dirty="0"/>
          </a:p>
          <a:p>
            <a:r>
              <a:rPr lang="de-DE" sz="1100" dirty="0">
                <a:solidFill>
                  <a:schemeClr val="accent4"/>
                </a:solidFill>
                <a:latin typeface="PP Telegraf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auletech.com/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B8A6555-995C-997D-258C-EE0F8EC1E381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20608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6E47741F-03B1-0256-F299-D512DB07B946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Text Placeholder 38">
            <a:extLst>
              <a:ext uri="{FF2B5EF4-FFF2-40B4-BE49-F238E27FC236}">
                <a16:creationId xmlns:a16="http://schemas.microsoft.com/office/drawing/2014/main" id="{C5152013-73B7-8B67-8EB9-71D4F6A80156}"/>
              </a:ext>
            </a:extLst>
          </p:cNvPr>
          <p:cNvSpPr txBox="1">
            <a:spLocks/>
          </p:cNvSpPr>
          <p:nvPr/>
        </p:nvSpPr>
        <p:spPr>
          <a:xfrm>
            <a:off x="479423" y="297864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6 | Key player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FB8D34BE-C67C-6BC6-CA37-B6F9493E816F}"/>
              </a:ext>
            </a:extLst>
          </p:cNvPr>
          <p:cNvSpPr txBox="1">
            <a:spLocks/>
          </p:cNvSpPr>
          <p:nvPr/>
        </p:nvSpPr>
        <p:spPr>
          <a:xfrm>
            <a:off x="479423" y="1052530"/>
            <a:ext cx="11229019" cy="692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 err="1">
                <a:solidFill>
                  <a:schemeClr val="bg1"/>
                </a:solidFill>
              </a:rPr>
              <a:t>Microquanta</a:t>
            </a:r>
            <a:r>
              <a:rPr lang="en-GB" sz="2400" b="1" dirty="0">
                <a:solidFill>
                  <a:schemeClr val="bg1"/>
                </a:solidFill>
              </a:rPr>
              <a:t> Semiconductor produce ‘pure’ perovskite cells</a:t>
            </a:r>
          </a:p>
        </p:txBody>
      </p:sp>
      <p:pic>
        <p:nvPicPr>
          <p:cNvPr id="1026" name="Picture 2" descr="Microquanta">
            <a:extLst>
              <a:ext uri="{FF2B5EF4-FFF2-40B4-BE49-F238E27FC236}">
                <a16:creationId xmlns:a16="http://schemas.microsoft.com/office/drawing/2014/main" id="{ED1D3273-CD0E-F6CD-6B24-861523AEE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498" y="1744823"/>
            <a:ext cx="3256772" cy="1252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A5B7829-8EE4-5ECA-5508-9C2482055EF6}"/>
              </a:ext>
            </a:extLst>
          </p:cNvPr>
          <p:cNvSpPr txBox="1"/>
          <p:nvPr/>
        </p:nvSpPr>
        <p:spPr>
          <a:xfrm>
            <a:off x="6615403" y="6531428"/>
            <a:ext cx="5399314" cy="559836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r"/>
            <a:r>
              <a:rPr lang="de-DE" sz="1200" dirty="0">
                <a:solidFill>
                  <a:schemeClr val="accent4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orbes.com/profile/microquanta/?sh=7c9e715639af</a:t>
            </a:r>
            <a:endParaRPr lang="de-DE" sz="1200" dirty="0">
              <a:solidFill>
                <a:schemeClr val="accent4"/>
              </a:solidFill>
            </a:endParaRPr>
          </a:p>
          <a:p>
            <a:pPr algn="r"/>
            <a:r>
              <a:rPr lang="de-DE" sz="1200" dirty="0">
                <a:solidFill>
                  <a:schemeClr val="accent4"/>
                </a:solidFill>
              </a:rPr>
              <a:t>http://www.microquanta.com/en/solution/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66447F4-63D0-2173-A76D-372126364D8C}"/>
              </a:ext>
            </a:extLst>
          </p:cNvPr>
          <p:cNvSpPr txBox="1"/>
          <p:nvPr/>
        </p:nvSpPr>
        <p:spPr>
          <a:xfrm>
            <a:off x="4282750" y="1744822"/>
            <a:ext cx="7330751" cy="2078147"/>
          </a:xfrm>
          <a:prstGeom prst="rect">
            <a:avLst/>
          </a:prstGeom>
        </p:spPr>
        <p:txBody>
          <a:bodyPr vert="horz" wrap="none" lIns="0" tIns="0" rIns="0" bIns="0" rtlCol="0" anchor="t">
            <a:normAutofit/>
          </a:bodyPr>
          <a:lstStyle/>
          <a:p>
            <a:pPr algn="l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Chinese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ompan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manufactur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17%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electricit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onversion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Hav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rais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$10M in total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und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(last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und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- Series D) and plan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ommercializ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echnolog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find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roductio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lin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i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year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ss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IEC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tabilit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es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hic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emonstrat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lifetim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25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year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6FDB016-C82D-6A7B-9C1B-14FB499C6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363" y="3822969"/>
            <a:ext cx="2549695" cy="1836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F79F983-56CE-66FF-4A37-E4FF92E6A8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5659" y="3822969"/>
            <a:ext cx="3440003" cy="1836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7DD895E-398D-A57B-EAF4-AA64435BDE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7263" y="3822969"/>
            <a:ext cx="3201699" cy="1836764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E049E5F-9B9F-CAEC-532C-8FD1B5E1172E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0237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950FD72-BCCE-9EB9-B8DD-9A2BDE37B14B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43595F1-4082-B2D8-D8B7-B93DC8F8EB77}"/>
              </a:ext>
            </a:extLst>
          </p:cNvPr>
          <p:cNvSpPr txBox="1"/>
          <p:nvPr/>
        </p:nvSpPr>
        <p:spPr>
          <a:xfrm>
            <a:off x="470421" y="547390"/>
            <a:ext cx="11316368" cy="11849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PP Telegraf"/>
              </a:rPr>
              <a:t>Efficiency was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boosted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25.5%.</a:t>
            </a:r>
            <a:endParaRPr lang="de-DE" dirty="0">
              <a:latin typeface="PP Telegraf"/>
            </a:endParaRPr>
          </a:p>
          <a:p>
            <a:r>
              <a:rPr lang="de-DE" sz="1400" dirty="0">
                <a:solidFill>
                  <a:schemeClr val="bg1"/>
                </a:solidFill>
                <a:latin typeface="PP Telegraf"/>
              </a:rPr>
              <a:t>MIT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researchers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add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a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specially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reat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conductiv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layer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in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dioxid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bond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material,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which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improv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path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charg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carriers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sz="1400" dirty="0">
                <a:solidFill>
                  <a:schemeClr val="bg1"/>
                </a:solidFill>
                <a:latin typeface="PP Telegraf"/>
              </a:rPr>
              <a:t>in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cell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.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achiev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at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also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modifi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formula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.</a:t>
            </a:r>
          </a:p>
          <a:p>
            <a:endParaRPr lang="de-DE" sz="1400" dirty="0">
              <a:solidFill>
                <a:schemeClr val="bg1"/>
              </a:solidFill>
              <a:latin typeface="PP Telegraf"/>
            </a:endParaRPr>
          </a:p>
          <a:p>
            <a:r>
              <a:rPr lang="de-DE" sz="1100" dirty="0">
                <a:solidFill>
                  <a:schemeClr val="bg1"/>
                </a:solidFill>
                <a:latin typeface="PP Telegraf"/>
              </a:rPr>
              <a:t>(</a:t>
            </a:r>
            <a:r>
              <a:rPr lang="de-DE" sz="1100" u="sng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ews.mit.edu/2021/photovoltaic-efficiency-solar-0224</a:t>
            </a:r>
            <a:r>
              <a:rPr lang="de-DE" sz="1100" dirty="0">
                <a:solidFill>
                  <a:schemeClr val="bg1"/>
                </a:solidFill>
                <a:latin typeface="PP Telegraf"/>
              </a:rPr>
              <a:t>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49604E0-B560-405B-EF6E-8A83021E6B1E}"/>
              </a:ext>
            </a:extLst>
          </p:cNvPr>
          <p:cNvSpPr txBox="1"/>
          <p:nvPr/>
        </p:nvSpPr>
        <p:spPr>
          <a:xfrm>
            <a:off x="492514" y="1776272"/>
            <a:ext cx="10999358" cy="1400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PP Telegraf"/>
              </a:rPr>
              <a:t>New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record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tandem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cell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efficiency</a:t>
            </a:r>
            <a:endParaRPr lang="de-DE" dirty="0">
              <a:latin typeface="PP Telegraf"/>
            </a:endParaRPr>
          </a:p>
          <a:p>
            <a:r>
              <a:rPr lang="de-DE" sz="1400" dirty="0">
                <a:solidFill>
                  <a:schemeClr val="bg1"/>
                </a:solidFill>
                <a:latin typeface="PP Telegraf"/>
              </a:rPr>
              <a:t>CSEM and EPFL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achiev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31.25%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efficiency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. ‚</a:t>
            </a:r>
            <a:r>
              <a:rPr lang="de-DE" sz="1400" dirty="0" err="1">
                <a:solidFill>
                  <a:schemeClr val="bg1"/>
                </a:solidFill>
                <a:latin typeface="PP Telegraf"/>
                <a:cs typeface="Calibri" panose="020F0502020204030204" pitchFamily="34" charset="0"/>
              </a:rPr>
              <a:t>T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he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achiev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an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efficienc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30.93%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a 1 cm</a:t>
            </a:r>
            <a:r>
              <a:rPr lang="de-DE" sz="1400" baseline="300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 solar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cell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bas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on high-quality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perovskit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layer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olutio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on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planariz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ilico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urfac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and an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efficienc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31.25% on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cell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same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iz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fabricat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a hybrid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vapor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olutio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processing</a:t>
            </a:r>
            <a:endParaRPr lang="de-DE" sz="1400" dirty="0">
              <a:solidFill>
                <a:schemeClr val="bg1"/>
              </a:solidFill>
              <a:effectLst/>
              <a:latin typeface="PP Telegraf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Technique</a:t>
            </a:r>
            <a:r>
              <a:rPr lang="de-DE" sz="1400" dirty="0">
                <a:solidFill>
                  <a:schemeClr val="bg1"/>
                </a:solidFill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compatibl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textur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ilico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surfac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.‘</a:t>
            </a:r>
          </a:p>
          <a:p>
            <a:endParaRPr lang="de-DE" sz="1400" dirty="0">
              <a:solidFill>
                <a:schemeClr val="bg1"/>
              </a:solidFill>
              <a:latin typeface="PP Telegraf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1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de-DE" sz="1100" u="sng" kern="1800" dirty="0">
                <a:solidFill>
                  <a:schemeClr val="bg1"/>
                </a:solidFill>
                <a:effectLst/>
                <a:latin typeface="PP Telegraf"/>
                <a:ea typeface="Times New Roman" panose="02020603050405020304" pitchFamily="18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v-magazine.com/2022/07/07/csem-epfl-achieve-31-25-efficiency-for-tandem-perovskite-silicon-solar-cell/</a:t>
            </a:r>
            <a:r>
              <a:rPr lang="de-DE" sz="11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de-DE" sz="1100" dirty="0">
              <a:solidFill>
                <a:schemeClr val="bg1"/>
              </a:solidFill>
              <a:effectLst/>
              <a:latin typeface="PP Telegraf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517E3CB-DD9C-720E-0DB5-C68CE5D9F8CD}"/>
              </a:ext>
            </a:extLst>
          </p:cNvPr>
          <p:cNvSpPr txBox="1"/>
          <p:nvPr/>
        </p:nvSpPr>
        <p:spPr>
          <a:xfrm>
            <a:off x="492514" y="3232592"/>
            <a:ext cx="9727215" cy="9694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PP Telegraf"/>
              </a:rPr>
              <a:t>New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record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tandem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cell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efficiency</a:t>
            </a:r>
            <a:endParaRPr lang="de-DE" sz="1400" dirty="0">
              <a:solidFill>
                <a:schemeClr val="bg1"/>
              </a:solidFill>
              <a:latin typeface="PP Telegraf"/>
            </a:endParaRPr>
          </a:p>
          <a:p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Princeton Engineering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researcher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hav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develop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h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first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perovskit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solar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cell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with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commerciall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viable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lifetim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–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aroun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30yrs.</a:t>
            </a:r>
          </a:p>
          <a:p>
            <a:endParaRPr lang="de-DE" sz="1400" dirty="0">
              <a:solidFill>
                <a:schemeClr val="bg1"/>
              </a:solidFill>
              <a:latin typeface="PP Telegraf"/>
              <a:ea typeface="Calibri" panose="020F0502020204030204" pitchFamily="34" charset="0"/>
            </a:endParaRPr>
          </a:p>
          <a:p>
            <a:r>
              <a:rPr lang="de-DE" sz="11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(</a:t>
            </a:r>
            <a:r>
              <a:rPr lang="de-DE" sz="1100" u="sng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rinceton.edu/news/2022/06/29/once-seen-fleeting-new-solar-tech-proves-its-lasting-power</a:t>
            </a:r>
            <a:r>
              <a:rPr lang="de-DE" sz="11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) </a:t>
            </a:r>
            <a:endParaRPr lang="de-DE" sz="1100" dirty="0">
              <a:solidFill>
                <a:schemeClr val="bg1"/>
              </a:solidFill>
              <a:latin typeface="PP Telegraf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B84045B-0C0E-31F3-11B3-C5EB65B56817}"/>
              </a:ext>
            </a:extLst>
          </p:cNvPr>
          <p:cNvCxnSpPr>
            <a:cxnSpLocks/>
          </p:cNvCxnSpPr>
          <p:nvPr/>
        </p:nvCxnSpPr>
        <p:spPr>
          <a:xfrm flipH="1">
            <a:off x="571691" y="1780158"/>
            <a:ext cx="111498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6E4FD-4FF8-37F4-04EE-538B5CFC4401}"/>
              </a:ext>
            </a:extLst>
          </p:cNvPr>
          <p:cNvCxnSpPr>
            <a:cxnSpLocks/>
          </p:cNvCxnSpPr>
          <p:nvPr/>
        </p:nvCxnSpPr>
        <p:spPr>
          <a:xfrm flipH="1">
            <a:off x="571690" y="3219116"/>
            <a:ext cx="111498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ext Placeholder 38">
            <a:extLst>
              <a:ext uri="{FF2B5EF4-FFF2-40B4-BE49-F238E27FC236}">
                <a16:creationId xmlns:a16="http://schemas.microsoft.com/office/drawing/2014/main" id="{38DB2C3E-91B2-00EB-FE84-E1057530187B}"/>
              </a:ext>
            </a:extLst>
          </p:cNvPr>
          <p:cNvSpPr txBox="1">
            <a:spLocks/>
          </p:cNvSpPr>
          <p:nvPr/>
        </p:nvSpPr>
        <p:spPr>
          <a:xfrm>
            <a:off x="470421" y="296894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7 | Recent breakthrough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C4581F30-435C-6ACE-C7B7-2334A6AADCC0}"/>
              </a:ext>
            </a:extLst>
          </p:cNvPr>
          <p:cNvCxnSpPr>
            <a:cxnSpLocks/>
          </p:cNvCxnSpPr>
          <p:nvPr/>
        </p:nvCxnSpPr>
        <p:spPr>
          <a:xfrm flipH="1">
            <a:off x="571689" y="4255880"/>
            <a:ext cx="111498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866E176-265C-3A65-47EA-F6F7257DF403}"/>
              </a:ext>
            </a:extLst>
          </p:cNvPr>
          <p:cNvSpPr txBox="1"/>
          <p:nvPr/>
        </p:nvSpPr>
        <p:spPr>
          <a:xfrm>
            <a:off x="470421" y="4247887"/>
            <a:ext cx="11106182" cy="1615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>
                <a:solidFill>
                  <a:schemeClr val="bg1"/>
                </a:solidFill>
                <a:latin typeface="PP Telegraf"/>
              </a:rPr>
              <a:t>Pb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leakage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prevention</a:t>
            </a:r>
            <a:endParaRPr lang="de-DE" dirty="0">
              <a:latin typeface="PP Telegraf"/>
            </a:endParaRPr>
          </a:p>
          <a:p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show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at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Pb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leakag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may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b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prevented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by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a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built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-in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resin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layers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.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‚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report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new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devic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structur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ncorporate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low-cost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</a:p>
          <a:p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mesoporou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sulfonic</a:t>
            </a:r>
            <a:r>
              <a:rPr lang="de-DE" sz="1400" dirty="0">
                <a:solidFill>
                  <a:schemeClr val="bg1"/>
                </a:solidFill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acid-bas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lead-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adsorbing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resi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nto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perovskite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a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a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scaffol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which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mmobilize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lea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on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nsid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h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scaffol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eve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f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perovskite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</a:p>
          <a:p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ar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expos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o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rainwater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.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ntroducing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h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insulating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scaffol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not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onl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doe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not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decreas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h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devic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efficienc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, but also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can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b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scaled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up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to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large-area</a:t>
            </a:r>
          </a:p>
          <a:p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modules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(60.8 cm</a:t>
            </a:r>
            <a:r>
              <a:rPr lang="de-DE" sz="1400" baseline="300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2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)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with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an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aperture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efficiency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of</a:t>
            </a:r>
            <a:r>
              <a:rPr lang="de-DE" sz="1400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</a:rPr>
              <a:t> 16.3%‘.</a:t>
            </a:r>
          </a:p>
          <a:p>
            <a:endParaRPr lang="de-DE" sz="1400" dirty="0">
              <a:solidFill>
                <a:schemeClr val="bg1"/>
              </a:solidFill>
              <a:latin typeface="PP Telegraf"/>
            </a:endParaRPr>
          </a:p>
          <a:p>
            <a:r>
              <a:rPr lang="de-DE" sz="1100" dirty="0">
                <a:solidFill>
                  <a:schemeClr val="bg1"/>
                </a:solidFill>
                <a:latin typeface="PP Telegraf"/>
              </a:rPr>
              <a:t>(</a:t>
            </a:r>
            <a:r>
              <a:rPr lang="de-DE" sz="1100" u="sng" dirty="0">
                <a:solidFill>
                  <a:schemeClr val="bg1"/>
                </a:solidFill>
                <a:effectLst/>
                <a:latin typeface="PP Telegraf"/>
                <a:ea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ature.com/articles/s41893-021-00701-x</a:t>
            </a:r>
            <a:r>
              <a:rPr lang="de-DE" sz="1100" dirty="0">
                <a:solidFill>
                  <a:schemeClr val="bg1"/>
                </a:solidFill>
                <a:latin typeface="PP Telegraf"/>
              </a:rPr>
              <a:t>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6C4116-A837-12F2-6592-7E30B250DE76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60808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C839332-B2E9-8420-21B3-F60D2A648300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08B69C19-3C56-97AD-C8FD-A3E711E5E0BC}"/>
              </a:ext>
            </a:extLst>
          </p:cNvPr>
          <p:cNvCxnSpPr>
            <a:cxnSpLocks/>
          </p:cNvCxnSpPr>
          <p:nvPr/>
        </p:nvCxnSpPr>
        <p:spPr>
          <a:xfrm>
            <a:off x="322899" y="3155559"/>
            <a:ext cx="11443327" cy="0"/>
          </a:xfrm>
          <a:prstGeom prst="straightConnector1">
            <a:avLst/>
          </a:prstGeom>
          <a:ln w="31750">
            <a:solidFill>
              <a:schemeClr val="bg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" name="Flussdiagramm: Verbinder 3">
            <a:extLst>
              <a:ext uri="{FF2B5EF4-FFF2-40B4-BE49-F238E27FC236}">
                <a16:creationId xmlns:a16="http://schemas.microsoft.com/office/drawing/2014/main" id="{3EE2FCD0-8E17-E673-7EAA-DECF60F736C6}"/>
              </a:ext>
            </a:extLst>
          </p:cNvPr>
          <p:cNvSpPr/>
          <p:nvPr/>
        </p:nvSpPr>
        <p:spPr>
          <a:xfrm>
            <a:off x="766499" y="3069019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D7F118D-B0D0-F49D-1838-A66F97497550}"/>
              </a:ext>
            </a:extLst>
          </p:cNvPr>
          <p:cNvSpPr txBox="1"/>
          <p:nvPr/>
        </p:nvSpPr>
        <p:spPr>
          <a:xfrm>
            <a:off x="452397" y="3364273"/>
            <a:ext cx="83437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 err="1">
                <a:solidFill>
                  <a:schemeClr val="bg1"/>
                </a:solidFill>
              </a:rPr>
              <a:t>July</a:t>
            </a:r>
            <a:r>
              <a:rPr lang="de-DE" sz="1100" dirty="0">
                <a:solidFill>
                  <a:schemeClr val="bg1"/>
                </a:solidFill>
              </a:rPr>
              <a:t> 2019 – Oxford PV </a:t>
            </a:r>
            <a:r>
              <a:rPr lang="de-DE" sz="1100" dirty="0" err="1">
                <a:solidFill>
                  <a:schemeClr val="bg1"/>
                </a:solidFill>
              </a:rPr>
              <a:t>closed</a:t>
            </a:r>
            <a:r>
              <a:rPr lang="de-DE" sz="1100" dirty="0">
                <a:solidFill>
                  <a:schemeClr val="bg1"/>
                </a:solidFill>
              </a:rPr>
              <a:t> 65M Series D </a:t>
            </a:r>
            <a:r>
              <a:rPr lang="de-DE" sz="1100" dirty="0" err="1">
                <a:solidFill>
                  <a:schemeClr val="bg1"/>
                </a:solidFill>
              </a:rPr>
              <a:t>round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6" name="Flussdiagramm: Verbinder 5">
            <a:extLst>
              <a:ext uri="{FF2B5EF4-FFF2-40B4-BE49-F238E27FC236}">
                <a16:creationId xmlns:a16="http://schemas.microsoft.com/office/drawing/2014/main" id="{3D42C146-D780-A3AC-814E-D31A8456572A}"/>
              </a:ext>
            </a:extLst>
          </p:cNvPr>
          <p:cNvSpPr/>
          <p:nvPr/>
        </p:nvSpPr>
        <p:spPr>
          <a:xfrm>
            <a:off x="2146015" y="3067614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lussdiagramm: Verbinder 6">
            <a:extLst>
              <a:ext uri="{FF2B5EF4-FFF2-40B4-BE49-F238E27FC236}">
                <a16:creationId xmlns:a16="http://schemas.microsoft.com/office/drawing/2014/main" id="{34BF47A3-923B-F8D9-CBF6-0C4CA8A1A18B}"/>
              </a:ext>
            </a:extLst>
          </p:cNvPr>
          <p:cNvSpPr/>
          <p:nvPr/>
        </p:nvSpPr>
        <p:spPr>
          <a:xfrm>
            <a:off x="3727080" y="3067614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lussdiagramm: Verbinder 7">
            <a:extLst>
              <a:ext uri="{FF2B5EF4-FFF2-40B4-BE49-F238E27FC236}">
                <a16:creationId xmlns:a16="http://schemas.microsoft.com/office/drawing/2014/main" id="{34A89E65-EEC4-C538-92D3-3834475BBCD8}"/>
              </a:ext>
            </a:extLst>
          </p:cNvPr>
          <p:cNvSpPr/>
          <p:nvPr/>
        </p:nvSpPr>
        <p:spPr>
          <a:xfrm>
            <a:off x="5334118" y="3054562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lussdiagramm: Verbinder 8">
            <a:extLst>
              <a:ext uri="{FF2B5EF4-FFF2-40B4-BE49-F238E27FC236}">
                <a16:creationId xmlns:a16="http://schemas.microsoft.com/office/drawing/2014/main" id="{E6AA7079-706E-9C94-250C-6AAE7AC2863E}"/>
              </a:ext>
            </a:extLst>
          </p:cNvPr>
          <p:cNvSpPr/>
          <p:nvPr/>
        </p:nvSpPr>
        <p:spPr>
          <a:xfrm>
            <a:off x="6941371" y="3069019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081D6CD4-7985-D3B5-EB84-DE26B1E7C139}"/>
              </a:ext>
            </a:extLst>
          </p:cNvPr>
          <p:cNvSpPr/>
          <p:nvPr/>
        </p:nvSpPr>
        <p:spPr>
          <a:xfrm>
            <a:off x="8601469" y="3061286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E2859C28-E9B5-57B2-A0AC-7348EC0F780E}"/>
              </a:ext>
            </a:extLst>
          </p:cNvPr>
          <p:cNvSpPr/>
          <p:nvPr/>
        </p:nvSpPr>
        <p:spPr>
          <a:xfrm>
            <a:off x="10289354" y="3061286"/>
            <a:ext cx="220259" cy="194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E5C47CA-7FD6-A2A1-D1D7-6F2DCB970C75}"/>
              </a:ext>
            </a:extLst>
          </p:cNvPr>
          <p:cNvSpPr txBox="1"/>
          <p:nvPr/>
        </p:nvSpPr>
        <p:spPr>
          <a:xfrm>
            <a:off x="1754671" y="3353107"/>
            <a:ext cx="100294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September 2020 – </a:t>
            </a:r>
            <a:r>
              <a:rPr lang="de-DE" sz="1100" dirty="0" err="1">
                <a:solidFill>
                  <a:schemeClr val="bg1"/>
                </a:solidFill>
              </a:rPr>
              <a:t>Saule</a:t>
            </a:r>
            <a:r>
              <a:rPr lang="de-DE" sz="1100" dirty="0">
                <a:solidFill>
                  <a:schemeClr val="bg1"/>
                </a:solidFill>
              </a:rPr>
              <a:t> Technologies </a:t>
            </a:r>
            <a:r>
              <a:rPr lang="de-DE" sz="1100" dirty="0" err="1">
                <a:solidFill>
                  <a:schemeClr val="bg1"/>
                </a:solidFill>
              </a:rPr>
              <a:t>received</a:t>
            </a:r>
            <a:r>
              <a:rPr lang="de-DE" sz="1100" dirty="0">
                <a:solidFill>
                  <a:schemeClr val="bg1"/>
                </a:solidFill>
              </a:rPr>
              <a:t> €10M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515BFA-77B5-C3DB-DF61-08CB4DDB18E3}"/>
              </a:ext>
            </a:extLst>
          </p:cNvPr>
          <p:cNvSpPr txBox="1"/>
          <p:nvPr/>
        </p:nvSpPr>
        <p:spPr>
          <a:xfrm>
            <a:off x="3051249" y="3333334"/>
            <a:ext cx="157026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End </a:t>
            </a:r>
            <a:r>
              <a:rPr lang="de-DE" sz="1100" dirty="0" err="1">
                <a:solidFill>
                  <a:schemeClr val="bg1"/>
                </a:solidFill>
              </a:rPr>
              <a:t>of</a:t>
            </a:r>
            <a:r>
              <a:rPr lang="de-DE" sz="1100" dirty="0">
                <a:solidFill>
                  <a:schemeClr val="bg1"/>
                </a:solidFill>
              </a:rPr>
              <a:t> 2020 – Swift Solar </a:t>
            </a:r>
            <a:r>
              <a:rPr lang="de-DE" sz="1100" dirty="0" err="1">
                <a:solidFill>
                  <a:schemeClr val="bg1"/>
                </a:solidFill>
              </a:rPr>
              <a:t>closed</a:t>
            </a:r>
            <a:r>
              <a:rPr lang="de-DE" sz="1100" dirty="0">
                <a:solidFill>
                  <a:schemeClr val="bg1"/>
                </a:solidFill>
              </a:rPr>
              <a:t> a </a:t>
            </a:r>
            <a:r>
              <a:rPr lang="de-DE" sz="1100" dirty="0" err="1">
                <a:solidFill>
                  <a:schemeClr val="bg1"/>
                </a:solidFill>
              </a:rPr>
              <a:t>seed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round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of</a:t>
            </a:r>
            <a:r>
              <a:rPr lang="de-DE" sz="1100" dirty="0">
                <a:solidFill>
                  <a:schemeClr val="bg1"/>
                </a:solidFill>
              </a:rPr>
              <a:t> $8M. </a:t>
            </a:r>
            <a:r>
              <a:rPr lang="de-DE" sz="1100" dirty="0" err="1">
                <a:solidFill>
                  <a:schemeClr val="bg1"/>
                </a:solidFill>
              </a:rPr>
              <a:t>They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specialize</a:t>
            </a:r>
            <a:r>
              <a:rPr lang="de-DE" sz="1100" dirty="0">
                <a:solidFill>
                  <a:schemeClr val="bg1"/>
                </a:solidFill>
              </a:rPr>
              <a:t> in </a:t>
            </a:r>
            <a:r>
              <a:rPr lang="de-DE" sz="1100" dirty="0" err="1">
                <a:solidFill>
                  <a:schemeClr val="bg1"/>
                </a:solidFill>
              </a:rPr>
              <a:t>tandem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cells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r>
              <a:rPr lang="de-DE" sz="1100" dirty="0" err="1">
                <a:solidFill>
                  <a:schemeClr val="bg1"/>
                </a:solidFill>
              </a:rPr>
              <a:t>perovskites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for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cars</a:t>
            </a:r>
            <a:r>
              <a:rPr lang="de-DE" sz="1100" dirty="0">
                <a:solidFill>
                  <a:schemeClr val="bg1"/>
                </a:solidFill>
              </a:rPr>
              <a:t> and </a:t>
            </a:r>
            <a:r>
              <a:rPr lang="de-DE" sz="1100" dirty="0" err="1">
                <a:solidFill>
                  <a:schemeClr val="bg1"/>
                </a:solidFill>
              </a:rPr>
              <a:t>lightweight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aerial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machines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E45111A-293E-4876-C0DF-DFBF8A9348DE}"/>
              </a:ext>
            </a:extLst>
          </p:cNvPr>
          <p:cNvSpPr txBox="1"/>
          <p:nvPr/>
        </p:nvSpPr>
        <p:spPr>
          <a:xfrm>
            <a:off x="4769282" y="3333334"/>
            <a:ext cx="132671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June 2021 – 1366 Technologies and </a:t>
            </a:r>
            <a:r>
              <a:rPr lang="de-DE" sz="1100" dirty="0" err="1">
                <a:solidFill>
                  <a:schemeClr val="bg1"/>
                </a:solidFill>
              </a:rPr>
              <a:t>Hunt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Perovskit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merg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into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CubicPV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r>
              <a:rPr lang="de-DE" sz="1100" dirty="0" err="1">
                <a:solidFill>
                  <a:schemeClr val="bg1"/>
                </a:solidFill>
              </a:rPr>
              <a:t>secure</a:t>
            </a:r>
            <a:r>
              <a:rPr lang="de-DE" sz="1100" dirty="0">
                <a:solidFill>
                  <a:schemeClr val="bg1"/>
                </a:solidFill>
              </a:rPr>
              <a:t> $25M in </a:t>
            </a:r>
            <a:r>
              <a:rPr lang="de-DE" sz="1100" dirty="0" err="1">
                <a:solidFill>
                  <a:schemeClr val="bg1"/>
                </a:solidFill>
              </a:rPr>
              <a:t>funding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37EC374-15C6-BF66-FDB8-14D948C2A36A}"/>
              </a:ext>
            </a:extLst>
          </p:cNvPr>
          <p:cNvSpPr txBox="1"/>
          <p:nvPr/>
        </p:nvSpPr>
        <p:spPr>
          <a:xfrm>
            <a:off x="6470198" y="3429000"/>
            <a:ext cx="1162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April 2022 – Tandem PV </a:t>
            </a:r>
            <a:r>
              <a:rPr lang="de-DE" sz="1100" dirty="0" err="1">
                <a:solidFill>
                  <a:schemeClr val="bg1"/>
                </a:solidFill>
              </a:rPr>
              <a:t>raises</a:t>
            </a:r>
            <a:r>
              <a:rPr lang="de-DE" sz="1100" dirty="0">
                <a:solidFill>
                  <a:schemeClr val="bg1"/>
                </a:solidFill>
              </a:rPr>
              <a:t> $6M in Series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26AA969-1AC8-4701-1D22-9E64A7AF92CC}"/>
              </a:ext>
            </a:extLst>
          </p:cNvPr>
          <p:cNvSpPr txBox="1"/>
          <p:nvPr/>
        </p:nvSpPr>
        <p:spPr>
          <a:xfrm>
            <a:off x="9700061" y="3318292"/>
            <a:ext cx="139781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November 2022 – </a:t>
            </a:r>
            <a:r>
              <a:rPr lang="de-DE" sz="1100" dirty="0" err="1">
                <a:solidFill>
                  <a:schemeClr val="bg1"/>
                </a:solidFill>
              </a:rPr>
              <a:t>Qcells</a:t>
            </a:r>
            <a:r>
              <a:rPr lang="de-DE" sz="1100" dirty="0">
                <a:solidFill>
                  <a:schemeClr val="bg1"/>
                </a:solidFill>
              </a:rPr>
              <a:t> and a </a:t>
            </a:r>
            <a:r>
              <a:rPr lang="de-DE" sz="1100" dirty="0" err="1">
                <a:solidFill>
                  <a:schemeClr val="bg1"/>
                </a:solidFill>
              </a:rPr>
              <a:t>research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group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from</a:t>
            </a:r>
            <a:r>
              <a:rPr lang="de-DE" sz="1100" dirty="0">
                <a:solidFill>
                  <a:schemeClr val="bg1"/>
                </a:solidFill>
              </a:rPr>
              <a:t> Helmholtz-Zentrum Berlin </a:t>
            </a:r>
            <a:r>
              <a:rPr lang="de-DE" sz="1100" dirty="0" err="1">
                <a:solidFill>
                  <a:schemeClr val="bg1"/>
                </a:solidFill>
              </a:rPr>
              <a:t>establish</a:t>
            </a:r>
            <a:r>
              <a:rPr lang="de-DE" sz="1100" dirty="0">
                <a:solidFill>
                  <a:schemeClr val="bg1"/>
                </a:solidFill>
              </a:rPr>
              <a:t> a </a:t>
            </a:r>
            <a:r>
              <a:rPr lang="de-DE" sz="1100" dirty="0" err="1">
                <a:solidFill>
                  <a:schemeClr val="bg1"/>
                </a:solidFill>
              </a:rPr>
              <a:t>pilot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manufacturing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lin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for</a:t>
            </a:r>
            <a:r>
              <a:rPr lang="de-DE" sz="1100" dirty="0">
                <a:solidFill>
                  <a:schemeClr val="bg1"/>
                </a:solidFill>
              </a:rPr>
              <a:t> Si-</a:t>
            </a:r>
            <a:r>
              <a:rPr lang="de-DE" sz="1100" dirty="0" err="1">
                <a:solidFill>
                  <a:schemeClr val="bg1"/>
                </a:solidFill>
              </a:rPr>
              <a:t>perovskit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tandem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cells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r>
              <a:rPr lang="de-DE" sz="1100" dirty="0" err="1">
                <a:solidFill>
                  <a:schemeClr val="bg1"/>
                </a:solidFill>
              </a:rPr>
              <a:t>secured</a:t>
            </a:r>
            <a:r>
              <a:rPr lang="de-DE" sz="1100" dirty="0">
                <a:solidFill>
                  <a:schemeClr val="bg1"/>
                </a:solidFill>
              </a:rPr>
              <a:t> $14.9M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C7A0DD9-3F94-A2B3-1E5B-BA495FE1C1C2}"/>
              </a:ext>
            </a:extLst>
          </p:cNvPr>
          <p:cNvSpPr txBox="1"/>
          <p:nvPr/>
        </p:nvSpPr>
        <p:spPr>
          <a:xfrm>
            <a:off x="7926464" y="3333334"/>
            <a:ext cx="157026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June 2022 – </a:t>
            </a:r>
            <a:r>
              <a:rPr lang="de-DE" sz="1100" dirty="0" err="1">
                <a:solidFill>
                  <a:schemeClr val="bg1"/>
                </a:solidFill>
              </a:rPr>
              <a:t>the</a:t>
            </a:r>
            <a:r>
              <a:rPr lang="de-DE" sz="1100" dirty="0">
                <a:solidFill>
                  <a:schemeClr val="bg1"/>
                </a:solidFill>
              </a:rPr>
              <a:t> U.S. Department </a:t>
            </a:r>
            <a:r>
              <a:rPr lang="de-DE" sz="1100" dirty="0" err="1">
                <a:solidFill>
                  <a:schemeClr val="bg1"/>
                </a:solidFill>
              </a:rPr>
              <a:t>invested</a:t>
            </a:r>
            <a:r>
              <a:rPr lang="de-DE" sz="1100" dirty="0">
                <a:solidFill>
                  <a:schemeClr val="bg1"/>
                </a:solidFill>
              </a:rPr>
              <a:t> $900k in 3 </a:t>
            </a:r>
            <a:r>
              <a:rPr lang="de-DE" sz="1100" dirty="0" err="1">
                <a:solidFill>
                  <a:schemeClr val="bg1"/>
                </a:solidFill>
              </a:rPr>
              <a:t>perovskit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projects</a:t>
            </a:r>
            <a:r>
              <a:rPr lang="de-DE" sz="1100" dirty="0">
                <a:solidFill>
                  <a:schemeClr val="bg1"/>
                </a:solidFill>
              </a:rPr>
              <a:t> (</a:t>
            </a:r>
            <a:r>
              <a:rPr lang="de-DE" sz="1100" dirty="0" err="1">
                <a:solidFill>
                  <a:schemeClr val="bg1"/>
                </a:solidFill>
              </a:rPr>
              <a:t>high-speed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printing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r>
              <a:rPr lang="de-DE" sz="1100" dirty="0" err="1">
                <a:solidFill>
                  <a:schemeClr val="bg1"/>
                </a:solidFill>
              </a:rPr>
              <a:t>defect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testing</a:t>
            </a:r>
            <a:r>
              <a:rPr lang="de-DE" sz="1100" dirty="0">
                <a:solidFill>
                  <a:schemeClr val="bg1"/>
                </a:solidFill>
              </a:rPr>
              <a:t> and </a:t>
            </a:r>
            <a:r>
              <a:rPr lang="de-DE" sz="1100" dirty="0" err="1">
                <a:solidFill>
                  <a:schemeClr val="bg1"/>
                </a:solidFill>
              </a:rPr>
              <a:t>investigation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of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new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protectiv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layers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for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pervoskite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>
                <a:solidFill>
                  <a:schemeClr val="bg1"/>
                </a:solidFill>
              </a:rPr>
              <a:t>panels</a:t>
            </a:r>
            <a:r>
              <a:rPr lang="de-DE" sz="11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E7FD49C9-731D-3A77-5CD0-F20C8D020FF1}"/>
              </a:ext>
            </a:extLst>
          </p:cNvPr>
          <p:cNvSpPr txBox="1"/>
          <p:nvPr/>
        </p:nvSpPr>
        <p:spPr>
          <a:xfrm>
            <a:off x="1419788" y="2829988"/>
            <a:ext cx="16706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Columbus Energy</a:t>
            </a:r>
            <a:endParaRPr lang="de-DE" sz="9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ADA5EE7-3DF8-DA24-D1B7-55D3F49AE99D}"/>
              </a:ext>
            </a:extLst>
          </p:cNvPr>
          <p:cNvSpPr txBox="1"/>
          <p:nvPr/>
        </p:nvSpPr>
        <p:spPr>
          <a:xfrm>
            <a:off x="3001069" y="2551317"/>
            <a:ext cx="167062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schemeClr val="bg1"/>
                </a:solidFill>
              </a:rPr>
              <a:t>Good</a:t>
            </a:r>
            <a:r>
              <a:rPr lang="de-DE" sz="900" dirty="0">
                <a:solidFill>
                  <a:schemeClr val="bg1"/>
                </a:solidFill>
              </a:rPr>
              <a:t> Growth Capital,</a:t>
            </a: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Climate Capital,</a:t>
            </a: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Safar Partners</a:t>
            </a:r>
            <a:endParaRPr lang="de-DE" sz="9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81C3FB4-4183-ADF7-BC2C-0C3EB60627E3}"/>
              </a:ext>
            </a:extLst>
          </p:cNvPr>
          <p:cNvSpPr txBox="1"/>
          <p:nvPr/>
        </p:nvSpPr>
        <p:spPr>
          <a:xfrm>
            <a:off x="4608934" y="2674823"/>
            <a:ext cx="1670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First Solar,</a:t>
            </a: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Bill Gates-</a:t>
            </a:r>
            <a:r>
              <a:rPr lang="de-DE" sz="900" dirty="0" err="1">
                <a:solidFill>
                  <a:schemeClr val="bg1"/>
                </a:solidFill>
              </a:rPr>
              <a:t>owned</a:t>
            </a:r>
            <a:r>
              <a:rPr lang="de-DE" sz="900" dirty="0">
                <a:solidFill>
                  <a:schemeClr val="bg1"/>
                </a:solidFill>
              </a:rPr>
              <a:t> BEV</a:t>
            </a:r>
            <a:endParaRPr lang="de-DE" sz="9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385EAF9-8AB3-DA39-72E6-4FF182667814}"/>
              </a:ext>
            </a:extLst>
          </p:cNvPr>
          <p:cNvSpPr txBox="1"/>
          <p:nvPr/>
        </p:nvSpPr>
        <p:spPr>
          <a:xfrm>
            <a:off x="6216799" y="2793418"/>
            <a:ext cx="16706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schemeClr val="bg1"/>
                </a:solidFill>
              </a:rPr>
              <a:t>Bioeconomy</a:t>
            </a:r>
            <a:r>
              <a:rPr lang="de-DE" sz="900" dirty="0">
                <a:solidFill>
                  <a:schemeClr val="bg1"/>
                </a:solidFill>
              </a:rPr>
              <a:t> Capital</a:t>
            </a:r>
            <a:endParaRPr lang="de-DE" sz="9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538D11E-05CF-882E-D518-7BF2147B00AD}"/>
              </a:ext>
            </a:extLst>
          </p:cNvPr>
          <p:cNvSpPr txBox="1"/>
          <p:nvPr/>
        </p:nvSpPr>
        <p:spPr>
          <a:xfrm>
            <a:off x="9563654" y="2681172"/>
            <a:ext cx="1670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Horizon Europe</a:t>
            </a: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(EU </a:t>
            </a:r>
            <a:r>
              <a:rPr lang="de-DE" sz="900" dirty="0" err="1">
                <a:solidFill>
                  <a:schemeClr val="bg1"/>
                </a:solidFill>
              </a:rPr>
              <a:t>funding</a:t>
            </a:r>
            <a:r>
              <a:rPr lang="de-DE" sz="900" dirty="0">
                <a:solidFill>
                  <a:schemeClr val="bg1"/>
                </a:solidFill>
              </a:rPr>
              <a:t> </a:t>
            </a:r>
            <a:r>
              <a:rPr lang="de-DE" sz="900" dirty="0" err="1">
                <a:solidFill>
                  <a:schemeClr val="bg1"/>
                </a:solidFill>
              </a:rPr>
              <a:t>programme</a:t>
            </a:r>
            <a:r>
              <a:rPr lang="de-DE" sz="900" dirty="0">
                <a:solidFill>
                  <a:schemeClr val="bg1"/>
                </a:solidFill>
              </a:rPr>
              <a:t>)</a:t>
            </a:r>
            <a:endParaRPr lang="de-DE" sz="900" dirty="0"/>
          </a:p>
        </p:txBody>
      </p:sp>
      <p:sp>
        <p:nvSpPr>
          <p:cNvPr id="24" name="Text Placeholder 38">
            <a:extLst>
              <a:ext uri="{FF2B5EF4-FFF2-40B4-BE49-F238E27FC236}">
                <a16:creationId xmlns:a16="http://schemas.microsoft.com/office/drawing/2014/main" id="{5A3378A9-6D18-8677-1F6E-93DA8820A432}"/>
              </a:ext>
            </a:extLst>
          </p:cNvPr>
          <p:cNvSpPr txBox="1">
            <a:spLocks/>
          </p:cNvSpPr>
          <p:nvPr/>
        </p:nvSpPr>
        <p:spPr>
          <a:xfrm>
            <a:off x="470421" y="296894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8 | Funding round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6B5233E-3563-FD72-389E-C2EDFB118C1D}"/>
              </a:ext>
            </a:extLst>
          </p:cNvPr>
          <p:cNvSpPr txBox="1"/>
          <p:nvPr/>
        </p:nvSpPr>
        <p:spPr>
          <a:xfrm>
            <a:off x="4060458" y="6270794"/>
            <a:ext cx="8034635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100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ovskite-info.com/doe-awards-funding-3-perovskite-related-pv-projects</a:t>
            </a:r>
            <a:endParaRPr lang="de-DE" sz="1100" dirty="0">
              <a:solidFill>
                <a:schemeClr val="accent4"/>
              </a:solidFill>
              <a:effectLst/>
              <a:latin typeface="PP Telegraf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/>
            <a:r>
              <a:rPr lang="de-DE" sz="1100" u="sng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v-magazine-usa.com/2022/11/23/qcells-european-consortium-launch-production-line-for-tandem-silicon-perovskite-solar-cells/</a:t>
            </a:r>
            <a:endParaRPr lang="de-DE" sz="1100" u="sng" dirty="0">
              <a:solidFill>
                <a:schemeClr val="accent4"/>
              </a:solidFill>
              <a:effectLst/>
              <a:latin typeface="PP Telegraf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/>
            <a:r>
              <a:rPr lang="de-DE" sz="1100" dirty="0">
                <a:solidFill>
                  <a:schemeClr val="accent4"/>
                </a:solidFill>
                <a:latin typeface="PP Telegraf"/>
              </a:rPr>
              <a:t>https://www.pv-magazine.com/2021/06/28/1366-technologies-merges-with-hunt-perovskite-technologies</a:t>
            </a:r>
            <a:r>
              <a:rPr lang="de-DE" sz="1100" dirty="0">
                <a:solidFill>
                  <a:schemeClr val="bg1"/>
                </a:solidFill>
                <a:latin typeface="PP Telegraf"/>
              </a:rPr>
              <a:t>/</a:t>
            </a:r>
          </a:p>
        </p:txBody>
      </p:sp>
      <p:pic>
        <p:nvPicPr>
          <p:cNvPr id="2050" name="Picture 2" descr="Oxford PV: Investment rounds, top customers, partners and investors | i3  Connect">
            <a:extLst>
              <a:ext uri="{FF2B5EF4-FFF2-40B4-BE49-F238E27FC236}">
                <a16:creationId xmlns:a16="http://schemas.microsoft.com/office/drawing/2014/main" id="{E25F5F31-425C-B813-EB8B-6CC1D24C20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14" y="1335154"/>
            <a:ext cx="1039031" cy="250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Saule Technologies – Inkjet-Printed Perovskite Solar Cells">
            <a:extLst>
              <a:ext uri="{FF2B5EF4-FFF2-40B4-BE49-F238E27FC236}">
                <a16:creationId xmlns:a16="http://schemas.microsoft.com/office/drawing/2014/main" id="{E31843F2-49F6-5627-F4A3-BDDB9A9F2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678" y="1223492"/>
            <a:ext cx="908844" cy="47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wift Solar - Next generation lightweight and efficient solar technology">
            <a:extLst>
              <a:ext uri="{FF2B5EF4-FFF2-40B4-BE49-F238E27FC236}">
                <a16:creationId xmlns:a16="http://schemas.microsoft.com/office/drawing/2014/main" id="{87FDF990-7E8B-7BB3-82FA-4472041A4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2113" y="1346691"/>
            <a:ext cx="1002947" cy="262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Home - CubicPV">
            <a:extLst>
              <a:ext uri="{FF2B5EF4-FFF2-40B4-BE49-F238E27FC236}">
                <a16:creationId xmlns:a16="http://schemas.microsoft.com/office/drawing/2014/main" id="{19E59DF6-F085-7668-5BE4-943DDD429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986" y="1348722"/>
            <a:ext cx="1044520" cy="27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artners | U.S. Manufacturing of Advanced Perovskites Consortium">
            <a:extLst>
              <a:ext uri="{FF2B5EF4-FFF2-40B4-BE49-F238E27FC236}">
                <a16:creationId xmlns:a16="http://schemas.microsoft.com/office/drawing/2014/main" id="{971ACF17-EA94-8071-E057-B9D9B7DB9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690" y="1235989"/>
            <a:ext cx="896841" cy="448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Photovoltaikmodule von Q Cells - 021025793771">
            <a:extLst>
              <a:ext uri="{FF2B5EF4-FFF2-40B4-BE49-F238E27FC236}">
                <a16:creationId xmlns:a16="http://schemas.microsoft.com/office/drawing/2014/main" id="{2F6C87C4-F467-2DD2-60E5-5DA21807BF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1149" y="1278174"/>
            <a:ext cx="835634" cy="399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44EB6E7-296F-E62C-0C3D-81B4ECA74128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9709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005A0D3-8593-065E-8B86-4213A6AF534B}"/>
              </a:ext>
            </a:extLst>
          </p:cNvPr>
          <p:cNvSpPr/>
          <p:nvPr/>
        </p:nvSpPr>
        <p:spPr>
          <a:xfrm>
            <a:off x="6044563" y="9332"/>
            <a:ext cx="6124531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D73BFBE-BEE7-C689-6A9F-60874F3C6060}"/>
              </a:ext>
            </a:extLst>
          </p:cNvPr>
          <p:cNvSpPr txBox="1">
            <a:spLocks/>
          </p:cNvSpPr>
          <p:nvPr/>
        </p:nvSpPr>
        <p:spPr>
          <a:xfrm>
            <a:off x="479424" y="324570"/>
            <a:ext cx="5215875" cy="32244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6"/>
                </a:solidFill>
                <a:latin typeface="PP Telegraf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 b="1" dirty="0">
              <a:solidFill>
                <a:schemeClr val="accent4"/>
              </a:solidFill>
              <a:latin typeface="PP Telegraf"/>
            </a:endParaRPr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70546F86-255B-F68F-C26B-28388ADBED37}"/>
              </a:ext>
            </a:extLst>
          </p:cNvPr>
          <p:cNvSpPr txBox="1">
            <a:spLocks/>
          </p:cNvSpPr>
          <p:nvPr/>
        </p:nvSpPr>
        <p:spPr>
          <a:xfrm>
            <a:off x="479423" y="316986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9 | Summary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E3DDE9B-6C58-23F0-8AB2-5CE20D1AC457}"/>
              </a:ext>
            </a:extLst>
          </p:cNvPr>
          <p:cNvSpPr txBox="1"/>
          <p:nvPr/>
        </p:nvSpPr>
        <p:spPr>
          <a:xfrm>
            <a:off x="5529673" y="6393131"/>
            <a:ext cx="63209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u="sng" dirty="0">
                <a:solidFill>
                  <a:schemeClr val="bg1"/>
                </a:solidFill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https://www.iea.org/reports/solar-pv</a:t>
            </a:r>
            <a:endParaRPr lang="de-DE" sz="1200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EE39F5A-F29B-C8A1-55F7-1D6416E5CDEA}"/>
              </a:ext>
            </a:extLst>
          </p:cNvPr>
          <p:cNvSpPr txBox="1">
            <a:spLocks/>
          </p:cNvSpPr>
          <p:nvPr/>
        </p:nvSpPr>
        <p:spPr>
          <a:xfrm>
            <a:off x="430053" y="1015254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Conclusions</a:t>
            </a:r>
            <a:endParaRPr lang="de-DE" sz="2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13BF67F-39D8-608B-5781-7D228B9E7F3D}"/>
              </a:ext>
            </a:extLst>
          </p:cNvPr>
          <p:cNvSpPr txBox="1"/>
          <p:nvPr/>
        </p:nvSpPr>
        <p:spPr>
          <a:xfrm>
            <a:off x="479423" y="1828800"/>
            <a:ext cx="11230495" cy="3834882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r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grea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mplementatio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lready-exist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ane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echnologi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.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it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m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a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boost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‘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efficienci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ncreas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moun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btain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rom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un. This will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help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u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in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chiev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generatio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goa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or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2030.</a:t>
            </a: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Afte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m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researc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I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onclude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a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i-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andem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r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mai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ocu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ompani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eal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it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righ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now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.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will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b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rucia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he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ke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layer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like Oxford PV,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inall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launch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ir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roductio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lin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how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ustomer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/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respon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it.</a:t>
            </a: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Moreover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open a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otall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new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branc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usag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–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in-house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olution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.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will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inall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enabl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implementatio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uch solar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on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ar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urv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rea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hic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ith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tandar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i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was not possible.</a:t>
            </a: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Nevertheles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rtai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evelopment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on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urabilit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oxicit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ha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b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don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. As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hav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een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r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r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lready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olution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mitigat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s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roblem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.</a:t>
            </a: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C7A523-E03C-9275-7076-DC6B139C222A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33042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0476BE7D-45CD-9477-D2D5-010C35E1B2DB}"/>
              </a:ext>
            </a:extLst>
          </p:cNvPr>
          <p:cNvSpPr txBox="1"/>
          <p:nvPr/>
        </p:nvSpPr>
        <p:spPr>
          <a:xfrm>
            <a:off x="468923" y="1250462"/>
            <a:ext cx="4550945" cy="2472452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1 Solar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2 PV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3 PV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generations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4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Introduction</a:t>
            </a:r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perovskites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5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Pervoskite</a:t>
            </a:r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6 Key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players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7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Recent</a:t>
            </a:r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breakthroughs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8 Funding </a:t>
            </a:r>
            <a:r>
              <a:rPr lang="de-DE" sz="2000" b="1" dirty="0" err="1">
                <a:solidFill>
                  <a:schemeClr val="bg1">
                    <a:lumMod val="95000"/>
                  </a:schemeClr>
                </a:solidFill>
              </a:rPr>
              <a:t>rounds</a:t>
            </a:r>
            <a:endParaRPr lang="de-DE" sz="2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A110170-238D-5852-CDA2-276A246AE003}"/>
              </a:ext>
            </a:extLst>
          </p:cNvPr>
          <p:cNvSpPr txBox="1">
            <a:spLocks/>
          </p:cNvSpPr>
          <p:nvPr/>
        </p:nvSpPr>
        <p:spPr>
          <a:xfrm>
            <a:off x="479424" y="324570"/>
            <a:ext cx="5215875" cy="32244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6"/>
                </a:solidFill>
                <a:latin typeface="PP Telegraf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PP Telegraf"/>
              </a:rPr>
              <a:t>Conten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C2FAFEB-6AA6-6312-B155-264F87B3C0DD}"/>
              </a:ext>
            </a:extLst>
          </p:cNvPr>
          <p:cNvSpPr/>
          <p:nvPr/>
        </p:nvSpPr>
        <p:spPr>
          <a:xfrm>
            <a:off x="6087153" y="18662"/>
            <a:ext cx="609551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E567735-24CC-8A49-1241-654EB4F513BC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748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3FF95B4E-BF07-322E-8710-35CD265E86BB}"/>
              </a:ext>
            </a:extLst>
          </p:cNvPr>
          <p:cNvSpPr/>
          <p:nvPr/>
        </p:nvSpPr>
        <p:spPr>
          <a:xfrm>
            <a:off x="6096000" y="0"/>
            <a:ext cx="609551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 Placeholder 38">
            <a:extLst>
              <a:ext uri="{FF2B5EF4-FFF2-40B4-BE49-F238E27FC236}">
                <a16:creationId xmlns:a16="http://schemas.microsoft.com/office/drawing/2014/main" id="{63BE7400-AEB7-B1D1-64B9-7801642208A8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1 | Solar energy market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380AF6ED-6F8F-CF56-7408-9E8F8F470546}"/>
              </a:ext>
            </a:extLst>
          </p:cNvPr>
          <p:cNvSpPr txBox="1">
            <a:spLocks/>
          </p:cNvSpPr>
          <p:nvPr/>
        </p:nvSpPr>
        <p:spPr>
          <a:xfrm>
            <a:off x="479423" y="1052531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There are two ways to harness the energy from the Su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60EF0FD-DC4B-BD10-2C97-554604BA1289}"/>
              </a:ext>
            </a:extLst>
          </p:cNvPr>
          <p:cNvSpPr txBox="1"/>
          <p:nvPr/>
        </p:nvSpPr>
        <p:spPr>
          <a:xfrm>
            <a:off x="3140155" y="1754408"/>
            <a:ext cx="1050288" cy="769441"/>
          </a:xfrm>
          <a:prstGeom prst="rect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</a:rPr>
              <a:t>PV</a:t>
            </a:r>
          </a:p>
          <a:p>
            <a:pPr algn="ctr"/>
            <a:r>
              <a:rPr lang="de-DE" sz="1200" b="1" dirty="0" err="1">
                <a:solidFill>
                  <a:schemeClr val="bg1"/>
                </a:solidFill>
              </a:rPr>
              <a:t>Photovoltaics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8728B1-6805-0C07-95EE-F7E1D9F8E0A3}"/>
              </a:ext>
            </a:extLst>
          </p:cNvPr>
          <p:cNvSpPr txBox="1"/>
          <p:nvPr/>
        </p:nvSpPr>
        <p:spPr>
          <a:xfrm>
            <a:off x="8005337" y="1744466"/>
            <a:ext cx="1847685" cy="769441"/>
          </a:xfrm>
          <a:prstGeom prst="rect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</a:rPr>
              <a:t>CSP</a:t>
            </a:r>
          </a:p>
          <a:p>
            <a:pPr algn="ctr"/>
            <a:r>
              <a:rPr lang="de-DE" sz="1200" b="1" dirty="0" err="1">
                <a:solidFill>
                  <a:schemeClr val="bg1"/>
                </a:solidFill>
              </a:rPr>
              <a:t>Concentrated</a:t>
            </a:r>
            <a:r>
              <a:rPr lang="de-DE" sz="1200" b="1" dirty="0">
                <a:solidFill>
                  <a:schemeClr val="bg1"/>
                </a:solidFill>
              </a:rPr>
              <a:t> Solar Power</a:t>
            </a:r>
          </a:p>
        </p:txBody>
      </p:sp>
      <p:pic>
        <p:nvPicPr>
          <p:cNvPr id="8" name="Picture 2" descr="How is Photovoltaic Energy Produced?">
            <a:extLst>
              <a:ext uri="{FF2B5EF4-FFF2-40B4-BE49-F238E27FC236}">
                <a16:creationId xmlns:a16="http://schemas.microsoft.com/office/drawing/2014/main" id="{A7D2029F-31A3-2170-87C6-EE1029D9DF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536" y="2570065"/>
            <a:ext cx="1260472" cy="74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Solar PV Grant SEAI - Leitrim PPN">
            <a:extLst>
              <a:ext uri="{FF2B5EF4-FFF2-40B4-BE49-F238E27FC236}">
                <a16:creationId xmlns:a16="http://schemas.microsoft.com/office/drawing/2014/main" id="{AE079706-C8BA-9D82-1818-8266919DA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398" y="4519256"/>
            <a:ext cx="1260472" cy="76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Not too hot, not too cold. What's 'just right' for solar PV? – Solar  Technologies">
            <a:extLst>
              <a:ext uri="{FF2B5EF4-FFF2-40B4-BE49-F238E27FC236}">
                <a16:creationId xmlns:a16="http://schemas.microsoft.com/office/drawing/2014/main" id="{E3ADA6DC-CDBA-3750-52C7-A235D8586B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536" y="3546247"/>
            <a:ext cx="1275334" cy="74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What are the Pros and Cons of Longer Solar Contracts? - SolarPACES">
            <a:extLst>
              <a:ext uri="{FF2B5EF4-FFF2-40B4-BE49-F238E27FC236}">
                <a16:creationId xmlns:a16="http://schemas.microsoft.com/office/drawing/2014/main" id="{3FD804FF-EC8F-8EA3-A16F-B3BA823C75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128" y="3548291"/>
            <a:ext cx="1275334" cy="79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6" descr="Cleanergy to unveil Dubai concentrated solar power (CSP) project – HELIOSCSP">
            <a:extLst>
              <a:ext uri="{FF2B5EF4-FFF2-40B4-BE49-F238E27FC236}">
                <a16:creationId xmlns:a16="http://schemas.microsoft.com/office/drawing/2014/main" id="{DF8C97AF-027B-39CB-619A-7B94812BC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128" y="2570065"/>
            <a:ext cx="1275334" cy="79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 descr="A Beginners Guide To Concentrated Solar Power (CSP) | by Evan Clark |  Cleantech Rising | Medium">
            <a:extLst>
              <a:ext uri="{FF2B5EF4-FFF2-40B4-BE49-F238E27FC236}">
                <a16:creationId xmlns:a16="http://schemas.microsoft.com/office/drawing/2014/main" id="{23325FDD-4389-678A-5CCF-7EC57FC6E9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128" y="4512811"/>
            <a:ext cx="1280977" cy="85439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3504633B-84F5-745A-C6D3-2C8E352BFF6B}"/>
              </a:ext>
            </a:extLst>
          </p:cNvPr>
          <p:cNvCxnSpPr/>
          <p:nvPr/>
        </p:nvCxnSpPr>
        <p:spPr>
          <a:xfrm>
            <a:off x="6221876" y="2006143"/>
            <a:ext cx="1717772" cy="246088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E691FC48-0894-EDF4-5908-DFBB9360CABF}"/>
              </a:ext>
            </a:extLst>
          </p:cNvPr>
          <p:cNvCxnSpPr>
            <a:cxnSpLocks/>
          </p:cNvCxnSpPr>
          <p:nvPr/>
        </p:nvCxnSpPr>
        <p:spPr>
          <a:xfrm rot="10800000" flipV="1">
            <a:off x="4256535" y="2002499"/>
            <a:ext cx="1715890" cy="273260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9FFFF452-C413-6938-2A9A-BDED0E3B6913}"/>
              </a:ext>
            </a:extLst>
          </p:cNvPr>
          <p:cNvSpPr/>
          <p:nvPr/>
        </p:nvSpPr>
        <p:spPr>
          <a:xfrm>
            <a:off x="5994579" y="1918959"/>
            <a:ext cx="198704" cy="191746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33A204D-490E-8556-07C6-859732929F40}"/>
              </a:ext>
            </a:extLst>
          </p:cNvPr>
          <p:cNvSpPr txBox="1"/>
          <p:nvPr/>
        </p:nvSpPr>
        <p:spPr>
          <a:xfrm>
            <a:off x="4095573" y="2738131"/>
            <a:ext cx="1812289" cy="234011"/>
          </a:xfrm>
          <a:prstGeom prst="rect">
            <a:avLst/>
          </a:prstGeom>
        </p:spPr>
        <p:txBody>
          <a:bodyPr vert="horz" wrap="none" lIns="0" tIns="0" rIns="0" bIns="0" rtlCol="0" anchor="t">
            <a:normAutofit lnSpcReduction="10000"/>
          </a:bodyPr>
          <a:lstStyle/>
          <a:p>
            <a:pPr algn="l"/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Energy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from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photons</a:t>
            </a:r>
            <a:endParaRPr lang="de-DE" sz="1600" dirty="0">
              <a:solidFill>
                <a:schemeClr val="bg1">
                  <a:lumMod val="95000"/>
                </a:schemeClr>
              </a:solidFill>
              <a:latin typeface="PP Telegraf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65F442DE-678F-1146-D1FF-6E1E57EB04D1}"/>
              </a:ext>
            </a:extLst>
          </p:cNvPr>
          <p:cNvSpPr txBox="1"/>
          <p:nvPr/>
        </p:nvSpPr>
        <p:spPr>
          <a:xfrm>
            <a:off x="4201266" y="5327273"/>
            <a:ext cx="37853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  <a:latin typeface="PP Telegraf"/>
              </a:rPr>
              <a:t>The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forecast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says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that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these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numbers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pPr algn="ctr"/>
            <a:r>
              <a:rPr lang="de-DE" b="1" dirty="0">
                <a:solidFill>
                  <a:schemeClr val="bg1"/>
                </a:solidFill>
                <a:latin typeface="PP Telegraf"/>
              </a:rPr>
              <a:t>will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almost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double </a:t>
            </a:r>
            <a:r>
              <a:rPr lang="de-DE" b="1" dirty="0" err="1">
                <a:solidFill>
                  <a:schemeClr val="bg1"/>
                </a:solidFill>
                <a:latin typeface="PP Telegraf"/>
              </a:rPr>
              <a:t>by</a:t>
            </a:r>
            <a:r>
              <a:rPr lang="de-DE" b="1" dirty="0">
                <a:solidFill>
                  <a:schemeClr val="bg1"/>
                </a:solidFill>
                <a:latin typeface="PP Telegraf"/>
              </a:rPr>
              <a:t> 2030</a:t>
            </a:r>
          </a:p>
          <a:p>
            <a:pPr algn="ctr"/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14669D8-B723-6A44-B1D5-0EE563373960}"/>
              </a:ext>
            </a:extLst>
          </p:cNvPr>
          <p:cNvSpPr txBox="1"/>
          <p:nvPr/>
        </p:nvSpPr>
        <p:spPr>
          <a:xfrm>
            <a:off x="2488212" y="6289204"/>
            <a:ext cx="9489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ortunebusinessinsights.com/industry-reports/solar-power-market-100764</a:t>
            </a:r>
            <a:r>
              <a:rPr lang="de-DE" sz="1200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r"/>
            <a:r>
              <a:rPr lang="de-DE" sz="1200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lobenewswire.com/</a:t>
            </a:r>
            <a:r>
              <a:rPr lang="de-DE" sz="1200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D91B3A9-7480-970A-D5AB-7A19196E5DEE}"/>
              </a:ext>
            </a:extLst>
          </p:cNvPr>
          <p:cNvSpPr txBox="1"/>
          <p:nvPr/>
        </p:nvSpPr>
        <p:spPr>
          <a:xfrm>
            <a:off x="6255290" y="2753873"/>
            <a:ext cx="1523549" cy="224414"/>
          </a:xfrm>
          <a:prstGeom prst="rect">
            <a:avLst/>
          </a:prstGeom>
        </p:spPr>
        <p:txBody>
          <a:bodyPr vert="horz" wrap="square" lIns="0" tIns="0" rIns="0" bIns="0" rtlCol="0" anchor="t">
            <a:normAutofit lnSpcReduction="10000"/>
          </a:bodyPr>
          <a:lstStyle/>
          <a:p>
            <a:pPr algn="l"/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Energy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from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heat</a:t>
            </a:r>
            <a:endParaRPr lang="de-DE" sz="1600" dirty="0">
              <a:solidFill>
                <a:schemeClr val="bg1">
                  <a:lumMod val="95000"/>
                </a:schemeClr>
              </a:solidFill>
              <a:latin typeface="PP Telegraf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77B3501-1055-4D1B-4025-1DC664530B5B}"/>
              </a:ext>
            </a:extLst>
          </p:cNvPr>
          <p:cNvSpPr txBox="1"/>
          <p:nvPr/>
        </p:nvSpPr>
        <p:spPr>
          <a:xfrm>
            <a:off x="3631675" y="4168297"/>
            <a:ext cx="2276187" cy="234011"/>
          </a:xfrm>
          <a:prstGeom prst="rect">
            <a:avLst/>
          </a:prstGeom>
        </p:spPr>
        <p:txBody>
          <a:bodyPr vert="horz" wrap="none" lIns="0" tIns="0" rIns="0" bIns="0" rtlCol="0" anchor="t">
            <a:normAutofit lnSpcReduction="10000"/>
          </a:bodyPr>
          <a:lstStyle/>
          <a:p>
            <a:pPr algn="l"/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In 2021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valued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at $161.15B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743D595-0C07-1A15-A211-CC7F24C33318}"/>
              </a:ext>
            </a:extLst>
          </p:cNvPr>
          <p:cNvSpPr txBox="1"/>
          <p:nvPr/>
        </p:nvSpPr>
        <p:spPr>
          <a:xfrm>
            <a:off x="6255290" y="4153327"/>
            <a:ext cx="2276187" cy="234011"/>
          </a:xfrm>
          <a:prstGeom prst="rect">
            <a:avLst/>
          </a:prstGeom>
        </p:spPr>
        <p:txBody>
          <a:bodyPr vert="horz" wrap="none" lIns="0" tIns="0" rIns="0" bIns="0" rtlCol="0" anchor="t">
            <a:normAutofit lnSpcReduction="10000"/>
          </a:bodyPr>
          <a:lstStyle/>
          <a:p>
            <a:pPr algn="l"/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In 2021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valued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at $4.71B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CBA47265-6F41-9958-584D-225E1CB6848A}"/>
              </a:ext>
            </a:extLst>
          </p:cNvPr>
          <p:cNvSpPr txBox="1"/>
          <p:nvPr/>
        </p:nvSpPr>
        <p:spPr>
          <a:xfrm>
            <a:off x="3467405" y="3414364"/>
            <a:ext cx="2440457" cy="234011"/>
          </a:xfrm>
          <a:prstGeom prst="rect">
            <a:avLst/>
          </a:prstGeom>
        </p:spPr>
        <p:txBody>
          <a:bodyPr vert="horz" wrap="none" lIns="0" tIns="0" rIns="0" bIns="0" rtlCol="0" anchor="t">
            <a:normAutofit lnSpcReduction="10000"/>
          </a:bodyPr>
          <a:lstStyle/>
          <a:p>
            <a:pPr algn="r"/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Made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up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of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Si (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silicon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) 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C8873F7-E63D-BACE-EED3-E99F91F773F3}"/>
              </a:ext>
            </a:extLst>
          </p:cNvPr>
          <p:cNvSpPr txBox="1"/>
          <p:nvPr/>
        </p:nvSpPr>
        <p:spPr>
          <a:xfrm>
            <a:off x="6255290" y="3330151"/>
            <a:ext cx="2521662" cy="468489"/>
          </a:xfrm>
          <a:prstGeom prst="rect">
            <a:avLst/>
          </a:prstGeom>
        </p:spPr>
        <p:txBody>
          <a:bodyPr vert="horz" wrap="none" lIns="0" tIns="0" rIns="0" bIns="0" rtlCol="0" anchor="t">
            <a:normAutofit lnSpcReduction="10000"/>
          </a:bodyPr>
          <a:lstStyle/>
          <a:p>
            <a:pPr algn="l"/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Consis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of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mirror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/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lense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and</a:t>
            </a:r>
          </a:p>
          <a:p>
            <a:pPr algn="l"/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usually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a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crystal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in a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middle</a:t>
            </a:r>
            <a:endParaRPr lang="de-DE" sz="1600" dirty="0">
              <a:solidFill>
                <a:schemeClr val="bg1">
                  <a:lumMod val="95000"/>
                </a:schemeClr>
              </a:solidFill>
              <a:latin typeface="PP Telegraf"/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1D7B4B56-2458-ECFE-498A-506C19FB6296}"/>
              </a:ext>
            </a:extLst>
          </p:cNvPr>
          <p:cNvCxnSpPr>
            <a:cxnSpLocks/>
          </p:cNvCxnSpPr>
          <p:nvPr/>
        </p:nvCxnSpPr>
        <p:spPr>
          <a:xfrm>
            <a:off x="6096000" y="2262882"/>
            <a:ext cx="0" cy="3064391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8B3131A2-868C-0059-09DA-A42B70C4FA08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C10775C-48C6-F792-8AE8-9BB5FC48C46E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1914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005A0D3-8593-065E-8B86-4213A6AF534B}"/>
              </a:ext>
            </a:extLst>
          </p:cNvPr>
          <p:cNvSpPr/>
          <p:nvPr/>
        </p:nvSpPr>
        <p:spPr>
          <a:xfrm>
            <a:off x="6067469" y="0"/>
            <a:ext cx="6124531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D73BFBE-BEE7-C689-6A9F-60874F3C6060}"/>
              </a:ext>
            </a:extLst>
          </p:cNvPr>
          <p:cNvSpPr txBox="1">
            <a:spLocks/>
          </p:cNvSpPr>
          <p:nvPr/>
        </p:nvSpPr>
        <p:spPr>
          <a:xfrm>
            <a:off x="479424" y="324570"/>
            <a:ext cx="5215875" cy="32244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6"/>
                </a:solidFill>
                <a:latin typeface="PP Telegraf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 b="1" dirty="0">
              <a:solidFill>
                <a:schemeClr val="accent4"/>
              </a:solidFill>
              <a:latin typeface="PP Telegraf"/>
            </a:endParaRPr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70546F86-255B-F68F-C26B-28388ADBED37}"/>
              </a:ext>
            </a:extLst>
          </p:cNvPr>
          <p:cNvSpPr txBox="1">
            <a:spLocks/>
          </p:cNvSpPr>
          <p:nvPr/>
        </p:nvSpPr>
        <p:spPr>
          <a:xfrm>
            <a:off x="479423" y="316986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2 | PV marke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E3DDE9B-6C58-23F0-8AB2-5CE20D1AC457}"/>
              </a:ext>
            </a:extLst>
          </p:cNvPr>
          <p:cNvSpPr txBox="1"/>
          <p:nvPr/>
        </p:nvSpPr>
        <p:spPr>
          <a:xfrm>
            <a:off x="5529673" y="6393131"/>
            <a:ext cx="63209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u="sng" dirty="0">
                <a:solidFill>
                  <a:schemeClr val="accent4"/>
                </a:solidFill>
                <a:latin typeface="PP Telegraf"/>
                <a:ea typeface="Calibri" panose="020F0502020204030204" pitchFamily="34" charset="0"/>
                <a:cs typeface="Times New Roman" panose="02020603050405020304" pitchFamily="18" charset="0"/>
              </a:rPr>
              <a:t>https://www.iea.org/reports/solar-pv</a:t>
            </a:r>
            <a:endParaRPr lang="de-DE" sz="1200" dirty="0">
              <a:solidFill>
                <a:schemeClr val="accent4"/>
              </a:solidFill>
              <a:latin typeface="PP Telegraf"/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EE39F5A-F29B-C8A1-55F7-1D6416E5CDEA}"/>
              </a:ext>
            </a:extLst>
          </p:cNvPr>
          <p:cNvSpPr txBox="1">
            <a:spLocks/>
          </p:cNvSpPr>
          <p:nvPr/>
        </p:nvSpPr>
        <p:spPr>
          <a:xfrm>
            <a:off x="479423" y="1057217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The evolution of PV energy sector and its cost curve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490AD1E4-E127-39CD-F5B0-1E3773B527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9375656"/>
              </p:ext>
            </p:extLst>
          </p:nvPr>
        </p:nvGraphicFramePr>
        <p:xfrm>
          <a:off x="479423" y="2015485"/>
          <a:ext cx="6621173" cy="3673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feld 15">
            <a:extLst>
              <a:ext uri="{FF2B5EF4-FFF2-40B4-BE49-F238E27FC236}">
                <a16:creationId xmlns:a16="http://schemas.microsoft.com/office/drawing/2014/main" id="{C8E0F163-4614-4C97-166E-3726F1B33890}"/>
              </a:ext>
            </a:extLst>
          </p:cNvPr>
          <p:cNvSpPr txBox="1"/>
          <p:nvPr/>
        </p:nvSpPr>
        <p:spPr>
          <a:xfrm>
            <a:off x="7625222" y="2973670"/>
            <a:ext cx="3687909" cy="71845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l"/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Achieving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PV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generation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approx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. 7500 TWh in 2030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align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with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ne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zero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scenerio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in 2050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4003FE2-EF15-AD9A-4C1A-8CF4D83FB6E5}"/>
              </a:ext>
            </a:extLst>
          </p:cNvPr>
          <p:cNvSpPr txBox="1"/>
          <p:nvPr/>
        </p:nvSpPr>
        <p:spPr>
          <a:xfrm>
            <a:off x="7625222" y="4191766"/>
            <a:ext cx="3853763" cy="875794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aking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into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accoun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curren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1000 TWh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generation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w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need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growth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25%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each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year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between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2022 and 2030.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C35A3DF-6A41-AF4E-DB35-26911ECA430A}"/>
              </a:ext>
            </a:extLst>
          </p:cNvPr>
          <p:cNvCxnSpPr>
            <a:cxnSpLocks/>
          </p:cNvCxnSpPr>
          <p:nvPr/>
        </p:nvCxnSpPr>
        <p:spPr>
          <a:xfrm flipV="1">
            <a:off x="4627984" y="2781837"/>
            <a:ext cx="2062591" cy="203486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1911C4DA-1A00-E899-320F-1AACD618C92F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8FDB5A1-C4E6-0C59-8EF4-0987C9F306BD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4596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005A0D3-8593-065E-8B86-4213A6AF534B}"/>
              </a:ext>
            </a:extLst>
          </p:cNvPr>
          <p:cNvSpPr/>
          <p:nvPr/>
        </p:nvSpPr>
        <p:spPr>
          <a:xfrm>
            <a:off x="6044563" y="1"/>
            <a:ext cx="6124531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D73BFBE-BEE7-C689-6A9F-60874F3C6060}"/>
              </a:ext>
            </a:extLst>
          </p:cNvPr>
          <p:cNvSpPr txBox="1">
            <a:spLocks/>
          </p:cNvSpPr>
          <p:nvPr/>
        </p:nvSpPr>
        <p:spPr>
          <a:xfrm>
            <a:off x="479424" y="324570"/>
            <a:ext cx="5215875" cy="32244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6"/>
                </a:solidFill>
                <a:latin typeface="PP Telegraf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 b="1" dirty="0">
              <a:solidFill>
                <a:schemeClr val="accent4"/>
              </a:solidFill>
              <a:latin typeface="PP Telegraf"/>
            </a:endParaRPr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70546F86-255B-F68F-C26B-28388ADBED37}"/>
              </a:ext>
            </a:extLst>
          </p:cNvPr>
          <p:cNvSpPr txBox="1">
            <a:spLocks/>
          </p:cNvSpPr>
          <p:nvPr/>
        </p:nvSpPr>
        <p:spPr>
          <a:xfrm>
            <a:off x="479423" y="316986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2 | PV market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8D68BF2E-41F9-4963-D825-21EB1B547B2C}"/>
              </a:ext>
            </a:extLst>
          </p:cNvPr>
          <p:cNvSpPr txBox="1">
            <a:spLocks/>
          </p:cNvSpPr>
          <p:nvPr/>
        </p:nvSpPr>
        <p:spPr>
          <a:xfrm>
            <a:off x="479423" y="1057217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Generation of energy from PV panels got much cheaper since it went commercial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E3DDE9B-6C58-23F0-8AB2-5CE20D1AC457}"/>
              </a:ext>
            </a:extLst>
          </p:cNvPr>
          <p:cNvSpPr txBox="1"/>
          <p:nvPr/>
        </p:nvSpPr>
        <p:spPr>
          <a:xfrm>
            <a:off x="2080727" y="6385513"/>
            <a:ext cx="99004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u="sng" dirty="0">
                <a:solidFill>
                  <a:schemeClr val="accent4"/>
                </a:solidFill>
                <a:effectLst/>
                <a:latin typeface="PP Telegraf"/>
                <a:ea typeface="Calibri" panose="020F050202020403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earchgate.net/figure/2-Evolution-of-the-energy-cost-in-dollars-per-watt-peaks-for-silicon-based-solar_fig4_329413496</a:t>
            </a:r>
            <a:endParaRPr lang="de-DE" sz="1200" u="sng" dirty="0">
              <a:solidFill>
                <a:schemeClr val="accent4"/>
              </a:solidFill>
              <a:effectLst/>
              <a:latin typeface="PP Telegraf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/>
            <a:r>
              <a:rPr lang="de-DE" sz="1200" dirty="0">
                <a:solidFill>
                  <a:schemeClr val="accent4"/>
                </a:solidFill>
                <a:latin typeface="PP Telegraf"/>
              </a:rPr>
              <a:t>https://www.everlightsolar.com/a-brief-history-of-solar-power-how-did-it-come-to-be/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CE153FD-0E04-C6D5-D410-537CDA6607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122" y="1874203"/>
            <a:ext cx="6519034" cy="392658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4CD4382F-4ADD-F453-CA35-7B0803364FEC}"/>
              </a:ext>
            </a:extLst>
          </p:cNvPr>
          <p:cNvSpPr txBox="1"/>
          <p:nvPr/>
        </p:nvSpPr>
        <p:spPr>
          <a:xfrm>
            <a:off x="7910684" y="3014827"/>
            <a:ext cx="3834882" cy="1566503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PV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becam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commercialized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around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1960 at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pric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$300/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wat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. </a:t>
            </a:r>
          </a:p>
          <a:p>
            <a:pPr algn="l"/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With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time,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price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was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decreasing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gradually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reach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$0.18/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wat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in 2020 –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i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i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almost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1700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ime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less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1">
                    <a:lumMod val="95000"/>
                  </a:schemeClr>
                </a:solidFill>
              </a:rPr>
              <a:t>than</a:t>
            </a:r>
            <a:r>
              <a:rPr lang="de-DE" sz="1600" dirty="0">
                <a:solidFill>
                  <a:schemeClr val="bg1">
                    <a:lumMod val="95000"/>
                  </a:schemeClr>
                </a:solidFill>
              </a:rPr>
              <a:t> in 1960.</a:t>
            </a:r>
          </a:p>
          <a:p>
            <a:pPr algn="l"/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C08AE8F-5689-14F7-3025-7F62EDE2BCDB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FFC9907-05E5-85C3-5440-CA255096B324}"/>
              </a:ext>
            </a:extLst>
          </p:cNvPr>
          <p:cNvSpPr/>
          <p:nvPr/>
        </p:nvSpPr>
        <p:spPr>
          <a:xfrm>
            <a:off x="242215" y="6044745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45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005A0D3-8593-065E-8B86-4213A6AF534B}"/>
              </a:ext>
            </a:extLst>
          </p:cNvPr>
          <p:cNvSpPr/>
          <p:nvPr/>
        </p:nvSpPr>
        <p:spPr>
          <a:xfrm>
            <a:off x="6125000" y="8284"/>
            <a:ext cx="6124531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D73BFBE-BEE7-C689-6A9F-60874F3C6060}"/>
              </a:ext>
            </a:extLst>
          </p:cNvPr>
          <p:cNvSpPr txBox="1">
            <a:spLocks/>
          </p:cNvSpPr>
          <p:nvPr/>
        </p:nvSpPr>
        <p:spPr>
          <a:xfrm>
            <a:off x="479424" y="324570"/>
            <a:ext cx="5215875" cy="32244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6"/>
                </a:solidFill>
                <a:latin typeface="PP Telegraf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P Telegraf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 b="1" dirty="0">
              <a:solidFill>
                <a:schemeClr val="accent4"/>
              </a:solidFill>
              <a:latin typeface="PP Telegraf"/>
            </a:endParaRPr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70546F86-255B-F68F-C26B-28388ADBED37}"/>
              </a:ext>
            </a:extLst>
          </p:cNvPr>
          <p:cNvSpPr txBox="1">
            <a:spLocks/>
          </p:cNvSpPr>
          <p:nvPr/>
        </p:nvSpPr>
        <p:spPr>
          <a:xfrm>
            <a:off x="479423" y="316986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2 | PV marke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E3DDE9B-6C58-23F0-8AB2-5CE20D1AC457}"/>
              </a:ext>
            </a:extLst>
          </p:cNvPr>
          <p:cNvSpPr txBox="1"/>
          <p:nvPr/>
        </p:nvSpPr>
        <p:spPr>
          <a:xfrm>
            <a:off x="1632857" y="6080774"/>
            <a:ext cx="1042229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900" u="sng" dirty="0">
                <a:solidFill>
                  <a:schemeClr val="accent4"/>
                </a:solidFill>
                <a:latin typeface="PP Telegraf"/>
                <a:ea typeface="Calibri" panose="020F050202020403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ea.org/reports/solar-pv</a:t>
            </a:r>
            <a:endParaRPr lang="de-DE" sz="900" u="sng" dirty="0">
              <a:solidFill>
                <a:schemeClr val="accent4"/>
              </a:solidFill>
              <a:latin typeface="PP Telegraf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/>
            <a:r>
              <a:rPr lang="de-DE" sz="900" dirty="0">
                <a:solidFill>
                  <a:schemeClr val="accent4"/>
                </a:solidFill>
                <a:latin typeface="PP Telegraf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sis.org/east-green-chinas-global-leadership-renewable-energy</a:t>
            </a:r>
            <a:endParaRPr lang="de-DE" sz="900" dirty="0">
              <a:solidFill>
                <a:schemeClr val="accent4"/>
              </a:solidFill>
              <a:latin typeface="PP Telegraf"/>
            </a:endParaRPr>
          </a:p>
          <a:p>
            <a:pPr algn="r"/>
            <a:r>
              <a:rPr lang="de-DE" sz="900" dirty="0">
                <a:solidFill>
                  <a:schemeClr val="accent4"/>
                </a:solidFill>
                <a:latin typeface="PP Telegraf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olarpowereurope.org/press-releases/new-market-report-2021-the-best-year-in-european-solar-history-2022-europe-set-to-hit-30-gw-installation-level</a:t>
            </a:r>
            <a:r>
              <a:rPr lang="de-DE" sz="900" dirty="0">
                <a:solidFill>
                  <a:schemeClr val="accent4"/>
                </a:solidFill>
                <a:latin typeface="PP Telegraf"/>
              </a:rPr>
              <a:t>   </a:t>
            </a:r>
            <a:r>
              <a:rPr lang="de-DE" sz="900" dirty="0">
                <a:solidFill>
                  <a:schemeClr val="accent4"/>
                </a:solidFill>
                <a:latin typeface="PP Telegraf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uronews.com/green/2022/12/20/eu-solar-power-soars-by-almost-50-in-2022-which-country-installed-the-most</a:t>
            </a:r>
            <a:endParaRPr lang="de-DE" sz="900" dirty="0">
              <a:solidFill>
                <a:schemeClr val="accent4"/>
              </a:solidFill>
              <a:latin typeface="PP Telegraf"/>
            </a:endParaRPr>
          </a:p>
          <a:p>
            <a:pPr algn="r"/>
            <a:r>
              <a:rPr lang="de-DE" sz="900" dirty="0">
                <a:solidFill>
                  <a:schemeClr val="accent4"/>
                </a:solidFill>
                <a:latin typeface="PP Telegraf"/>
              </a:rPr>
              <a:t>https://energy.ec.europa.eu/topics/renewable-energy/solar-energy_en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AEE39F5A-F29B-C8A1-55F7-1D6416E5CDEA}"/>
              </a:ext>
            </a:extLst>
          </p:cNvPr>
          <p:cNvSpPr txBox="1">
            <a:spLocks/>
          </p:cNvSpPr>
          <p:nvPr/>
        </p:nvSpPr>
        <p:spPr>
          <a:xfrm>
            <a:off x="479423" y="1057217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Among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all countries, China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is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leader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on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being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resposible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for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38% solar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sz="24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400" b="1" dirty="0" err="1">
                <a:solidFill>
                  <a:schemeClr val="bg1">
                    <a:lumMod val="95000"/>
                  </a:schemeClr>
                </a:solidFill>
              </a:rPr>
              <a:t>production</a:t>
            </a:r>
            <a:endParaRPr lang="de-DE" sz="2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5B73E67B-582B-04E5-ADD5-7BE602E64B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353634"/>
              </p:ext>
            </p:extLst>
          </p:nvPr>
        </p:nvGraphicFramePr>
        <p:xfrm>
          <a:off x="479423" y="2015486"/>
          <a:ext cx="5321847" cy="3729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88C16D41-55CD-2CE3-F3F6-8267B3A2996F}"/>
              </a:ext>
            </a:extLst>
          </p:cNvPr>
          <p:cNvSpPr txBox="1"/>
          <p:nvPr/>
        </p:nvSpPr>
        <p:spPr>
          <a:xfrm>
            <a:off x="5901048" y="2375190"/>
            <a:ext cx="6075883" cy="41218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wn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5 out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6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world‘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largest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solar-module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anufactur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companie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oduce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70%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world‘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ilicon</a:t>
            </a:r>
            <a:endParaRPr lang="de-DE" sz="1400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ovid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cheapest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(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oduction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owered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b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fossil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uel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Invest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in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domestic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utbound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renewabl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ource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(in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rder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endParaRPr lang="de-DE" sz="1400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    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ight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water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air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ollution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which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caus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illion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death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year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Until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now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EU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ha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been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invest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in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research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on solar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her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was not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uch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und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or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cal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up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echnologie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In 2022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installe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41.4GW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new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capacit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–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largest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growth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in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U‘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histor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Initiatives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a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The European Green Deal and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REPowerEU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which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want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o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ioritiz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solar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a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ke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olution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in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nerg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ransition</a:t>
            </a:r>
            <a:endParaRPr lang="de-DE" sz="1400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European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anel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ar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or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expensive but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higher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qualit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Decentralization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and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locality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oduction</a:t>
            </a:r>
            <a:endParaRPr lang="de-DE" sz="1400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AE210C4-B42A-17EF-3A5D-72865DDA6935}"/>
              </a:ext>
            </a:extLst>
          </p:cNvPr>
          <p:cNvSpPr txBox="1"/>
          <p:nvPr/>
        </p:nvSpPr>
        <p:spPr>
          <a:xfrm>
            <a:off x="8277584" y="1951904"/>
            <a:ext cx="749113" cy="301514"/>
          </a:xfrm>
          <a:prstGeom prst="rect">
            <a:avLst/>
          </a:prstGeom>
          <a:ln w="28575">
            <a:solidFill>
              <a:schemeClr val="bg1"/>
            </a:solidFill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CHINA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CEF7FED-5D82-3B6F-0162-4F634D50D18A}"/>
              </a:ext>
            </a:extLst>
          </p:cNvPr>
          <p:cNvSpPr txBox="1"/>
          <p:nvPr/>
        </p:nvSpPr>
        <p:spPr>
          <a:xfrm>
            <a:off x="8101625" y="3775711"/>
            <a:ext cx="1101030" cy="301514"/>
          </a:xfrm>
          <a:prstGeom prst="rect">
            <a:avLst/>
          </a:prstGeom>
          <a:ln w="28575">
            <a:solidFill>
              <a:schemeClr val="bg1"/>
            </a:solidFill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r>
              <a:rPr lang="de-DE" sz="2000" b="1" dirty="0">
                <a:solidFill>
                  <a:schemeClr val="bg1">
                    <a:lumMod val="95000"/>
                  </a:schemeClr>
                </a:solidFill>
              </a:rPr>
              <a:t>EUROP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81DD030-0CE0-4E37-6050-4EFE0EC56199}"/>
              </a:ext>
            </a:extLst>
          </p:cNvPr>
          <p:cNvSpPr/>
          <p:nvPr/>
        </p:nvSpPr>
        <p:spPr>
          <a:xfrm>
            <a:off x="115524" y="6080094"/>
            <a:ext cx="1517333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040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0CBFDE3-B4F0-46BC-2A3A-5FAD59D767D3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1A77710A-A401-614D-FF25-9539C18269CB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3 | PV generation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B1518704-604F-F441-062F-07042F46943A}"/>
              </a:ext>
            </a:extLst>
          </p:cNvPr>
          <p:cNvSpPr txBox="1">
            <a:spLocks/>
          </p:cNvSpPr>
          <p:nvPr/>
        </p:nvSpPr>
        <p:spPr>
          <a:xfrm>
            <a:off x="479423" y="1052531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There are 3 generations of photovoltaics used currently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0A275E00-2895-6E0B-9527-671EA43413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231023"/>
              </p:ext>
            </p:extLst>
          </p:nvPr>
        </p:nvGraphicFramePr>
        <p:xfrm>
          <a:off x="638629" y="2279902"/>
          <a:ext cx="8128000" cy="3312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9926">
                  <a:extLst>
                    <a:ext uri="{9D8B030D-6E8A-4147-A177-3AD203B41FA5}">
                      <a16:colId xmlns:a16="http://schemas.microsoft.com/office/drawing/2014/main" val="3147143076"/>
                    </a:ext>
                  </a:extLst>
                </a:gridCol>
                <a:gridCol w="2034074">
                  <a:extLst>
                    <a:ext uri="{9D8B030D-6E8A-4147-A177-3AD203B41FA5}">
                      <a16:colId xmlns:a16="http://schemas.microsoft.com/office/drawing/2014/main" val="219283574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45030820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807933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Silicon</a:t>
                      </a:r>
                    </a:p>
                    <a:p>
                      <a:pPr algn="ctr"/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(1st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generation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Thin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-film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photovoltaics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(</a:t>
                      </a:r>
                      <a:r>
                        <a:rPr lang="de-DE" sz="1800" b="1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dTe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  <a:p>
                      <a:pPr algn="ctr"/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(2nd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generation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Perovskite</a:t>
                      </a: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(3rd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generation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8842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Highest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record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efficiency</a:t>
                      </a: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9%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06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Lifespan</a:t>
                      </a: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5-30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yrs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10-20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yrs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.5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yrs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19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Light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spectrum</a:t>
                      </a: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&gt; 800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nm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400-800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nm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&lt; 800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nm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5713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Cell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thickness</a:t>
                      </a:r>
                      <a:endParaRPr lang="de-DE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200-500 µm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1 µm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0.2-0.4 µm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9806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Price per Watt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$0.16-0.46/W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$1-1.5/W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$0.16/W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761347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312C849-0DD7-CB15-4D17-80B706654024}"/>
              </a:ext>
            </a:extLst>
          </p:cNvPr>
          <p:cNvSpPr txBox="1"/>
          <p:nvPr/>
        </p:nvSpPr>
        <p:spPr>
          <a:xfrm>
            <a:off x="5182813" y="6257836"/>
            <a:ext cx="6830716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100" dirty="0">
                <a:solidFill>
                  <a:schemeClr val="accent4"/>
                </a:solidFill>
                <a:latin typeface="PP Telegraf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olarmagazine.com/solar-panels/perovskite-solar-cells/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</a:t>
            </a:r>
          </a:p>
          <a:p>
            <a:pPr algn="r"/>
            <a:r>
              <a:rPr lang="de-DE" sz="1100" dirty="0">
                <a:solidFill>
                  <a:schemeClr val="accent4"/>
                </a:solidFill>
                <a:latin typeface="PP Telegraf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nergy.gov/eere/solar/perovskite-solar-cells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</a:t>
            </a:r>
            <a:r>
              <a:rPr lang="de-DE" sz="1100" dirty="0">
                <a:solidFill>
                  <a:schemeClr val="accent4"/>
                </a:solidFill>
                <a:latin typeface="PP Telegraf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ature.com/articles/s41598-022-13418-4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   </a:t>
            </a:r>
          </a:p>
          <a:p>
            <a:pPr algn="r"/>
            <a:r>
              <a:rPr lang="de-DE" sz="1100" dirty="0">
                <a:solidFill>
                  <a:schemeClr val="accent4"/>
                </a:solidFill>
                <a:latin typeface="PP Telegraf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ewatlas.com/energy/perovskite-silicon-solar-cells-30-percent-effic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3B0394-944A-0B80-89C3-175A60299F30}"/>
              </a:ext>
            </a:extLst>
          </p:cNvPr>
          <p:cNvSpPr txBox="1"/>
          <p:nvPr/>
        </p:nvSpPr>
        <p:spPr>
          <a:xfrm>
            <a:off x="9655707" y="3398019"/>
            <a:ext cx="2052735" cy="793102"/>
          </a:xfrm>
          <a:prstGeom prst="rect">
            <a:avLst/>
          </a:prstGeom>
        </p:spPr>
        <p:txBody>
          <a:bodyPr vert="horz" wrap="square" lIns="0" tIns="0" rIns="0" bIns="0" rtlCol="0" anchor="t">
            <a:normAutofit fontScale="40000" lnSpcReduction="20000"/>
          </a:bodyPr>
          <a:lstStyle/>
          <a:p>
            <a:pPr algn="ctr"/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One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of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the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biggest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obstacles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of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perovskite</a:t>
            </a:r>
            <a:r>
              <a:rPr lang="de-DE" sz="5200" dirty="0">
                <a:solidFill>
                  <a:schemeClr val="bg1">
                    <a:lumMod val="95000"/>
                  </a:schemeClr>
                </a:solidFill>
                <a:latin typeface="PP Telegraf"/>
              </a:rPr>
              <a:t> </a:t>
            </a:r>
            <a:r>
              <a:rPr lang="de-DE" sz="5200" dirty="0" err="1">
                <a:solidFill>
                  <a:schemeClr val="bg1">
                    <a:lumMod val="95000"/>
                  </a:schemeClr>
                </a:solidFill>
                <a:latin typeface="PP Telegraf"/>
              </a:rPr>
              <a:t>market</a:t>
            </a:r>
            <a:endParaRPr lang="de-DE" sz="5200" dirty="0">
              <a:solidFill>
                <a:schemeClr val="bg1">
                  <a:lumMod val="95000"/>
                </a:schemeClr>
              </a:solidFill>
              <a:latin typeface="PP Telegraf"/>
            </a:endParaRPr>
          </a:p>
        </p:txBody>
      </p:sp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D26BE14E-775B-BFBC-999B-7198FB9CC3D4}"/>
              </a:ext>
            </a:extLst>
          </p:cNvPr>
          <p:cNvCxnSpPr>
            <a:cxnSpLocks/>
          </p:cNvCxnSpPr>
          <p:nvPr/>
        </p:nvCxnSpPr>
        <p:spPr>
          <a:xfrm flipV="1">
            <a:off x="8934229" y="3794161"/>
            <a:ext cx="671804" cy="475864"/>
          </a:xfrm>
          <a:prstGeom prst="bentConnector3">
            <a:avLst>
              <a:gd name="adj1" fmla="val 50000"/>
            </a:avLst>
          </a:prstGeom>
          <a:ln w="762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6E8DECE0-61D4-9F64-1CF2-F2CED09CF5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3622895"/>
              </p:ext>
            </p:extLst>
          </p:nvPr>
        </p:nvGraphicFramePr>
        <p:xfrm>
          <a:off x="6735651" y="2292439"/>
          <a:ext cx="2028422" cy="3312160"/>
        </p:xfrm>
        <a:graphic>
          <a:graphicData uri="http://schemas.openxmlformats.org/drawingml/2006/table">
            <a:tbl>
              <a:tblPr/>
              <a:tblGrid>
                <a:gridCol w="2028422">
                  <a:extLst>
                    <a:ext uri="{9D8B030D-6E8A-4147-A177-3AD203B41FA5}">
                      <a16:colId xmlns:a16="http://schemas.microsoft.com/office/drawing/2014/main" val="1661697039"/>
                    </a:ext>
                  </a:extLst>
                </a:gridCol>
              </a:tblGrid>
              <a:tr h="331216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38100" cmpd="sng">
                      <a:solidFill>
                        <a:schemeClr val="accent4"/>
                      </a:solidFill>
                      <a:prstDash val="solid"/>
                    </a:lnL>
                    <a:lnR w="38100" cmpd="sng">
                      <a:solidFill>
                        <a:schemeClr val="accent4"/>
                      </a:solidFill>
                      <a:prstDash val="solid"/>
                    </a:lnR>
                    <a:lnT w="38100" cmpd="sng">
                      <a:solidFill>
                        <a:schemeClr val="accent4"/>
                      </a:solidFill>
                      <a:prstDash val="solid"/>
                    </a:lnT>
                    <a:lnB w="38100" cmpd="sng">
                      <a:solidFill>
                        <a:schemeClr val="accent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3875736"/>
                  </a:ext>
                </a:extLst>
              </a:tr>
            </a:tbl>
          </a:graphicData>
        </a:graphic>
      </p:graphicFrame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DBDE7E8-847B-2065-2BF1-EBDFF4E9BAC3}"/>
              </a:ext>
            </a:extLst>
          </p:cNvPr>
          <p:cNvCxnSpPr/>
          <p:nvPr/>
        </p:nvCxnSpPr>
        <p:spPr>
          <a:xfrm>
            <a:off x="6735651" y="3447662"/>
            <a:ext cx="2028422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D8438D2D-7B97-56E8-C05C-61D4ECF7AE31}"/>
              </a:ext>
            </a:extLst>
          </p:cNvPr>
          <p:cNvCxnSpPr/>
          <p:nvPr/>
        </p:nvCxnSpPr>
        <p:spPr>
          <a:xfrm>
            <a:off x="6738207" y="4119998"/>
            <a:ext cx="2028422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48C5528-B41D-E406-4DC6-3C2D76256BC4}"/>
              </a:ext>
            </a:extLst>
          </p:cNvPr>
          <p:cNvCxnSpPr/>
          <p:nvPr/>
        </p:nvCxnSpPr>
        <p:spPr>
          <a:xfrm>
            <a:off x="6738207" y="4478379"/>
            <a:ext cx="2028422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93DEE58-09C4-FAB4-73B1-1A0E8105E685}"/>
              </a:ext>
            </a:extLst>
          </p:cNvPr>
          <p:cNvCxnSpPr/>
          <p:nvPr/>
        </p:nvCxnSpPr>
        <p:spPr>
          <a:xfrm>
            <a:off x="6735651" y="4848310"/>
            <a:ext cx="2028422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A9FB6DE4-5C96-ABC9-B45F-A7CC6692E7F6}"/>
              </a:ext>
            </a:extLst>
          </p:cNvPr>
          <p:cNvCxnSpPr/>
          <p:nvPr/>
        </p:nvCxnSpPr>
        <p:spPr>
          <a:xfrm>
            <a:off x="6729427" y="5215317"/>
            <a:ext cx="2028422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2AA7A68F-199E-E77C-4274-264BBEF05D9D}"/>
              </a:ext>
            </a:extLst>
          </p:cNvPr>
          <p:cNvSpPr/>
          <p:nvPr/>
        </p:nvSpPr>
        <p:spPr>
          <a:xfrm>
            <a:off x="394996" y="61893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0088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1A86030-D0BF-58E4-4FF3-A703AF4C6799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D344CD9A-7826-9A8B-B050-1EC535874EE8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4 | Introduction to perovskites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9B19A17C-9972-671D-7329-0A056D18568E}"/>
              </a:ext>
            </a:extLst>
          </p:cNvPr>
          <p:cNvSpPr txBox="1">
            <a:spLocks/>
          </p:cNvSpPr>
          <p:nvPr/>
        </p:nvSpPr>
        <p:spPr>
          <a:xfrm>
            <a:off x="479423" y="1052531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Perovskites form a family of crystals of a specific spatial structur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F4AC8E9-E9BD-6EA5-C7FD-82B0B40D121B}"/>
              </a:ext>
            </a:extLst>
          </p:cNvPr>
          <p:cNvSpPr txBox="1"/>
          <p:nvPr/>
        </p:nvSpPr>
        <p:spPr>
          <a:xfrm>
            <a:off x="479423" y="1624263"/>
            <a:ext cx="66491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PP Telegraf"/>
              </a:rPr>
              <a:t>The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first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discovered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was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r>
              <a:rPr lang="de-DE" dirty="0" err="1">
                <a:solidFill>
                  <a:schemeClr val="bg1"/>
                </a:solidFill>
                <a:latin typeface="PP Telegraf"/>
              </a:rPr>
              <a:t>calcium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titanium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oxid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800" b="1" dirty="0">
                <a:solidFill>
                  <a:schemeClr val="bg1"/>
                </a:solidFill>
                <a:latin typeface="PP Telegraf"/>
              </a:rPr>
              <a:t>CaTiO</a:t>
            </a:r>
            <a:r>
              <a:rPr lang="de-DE" sz="1800" b="1" baseline="-25000" dirty="0">
                <a:solidFill>
                  <a:schemeClr val="bg1"/>
                </a:solidFill>
                <a:latin typeface="PP Telegraf"/>
              </a:rPr>
              <a:t>3</a:t>
            </a:r>
          </a:p>
          <a:p>
            <a:endParaRPr lang="de-DE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6BD93CF-DFB7-96B6-73BA-66601407BA44}"/>
              </a:ext>
            </a:extLst>
          </p:cNvPr>
          <p:cNvSpPr txBox="1"/>
          <p:nvPr/>
        </p:nvSpPr>
        <p:spPr>
          <a:xfrm flipH="1">
            <a:off x="689073" y="2473981"/>
            <a:ext cx="3283120" cy="830997"/>
          </a:xfrm>
          <a:prstGeom prst="rect">
            <a:avLst/>
          </a:prstGeom>
          <a:noFill/>
          <a:ln w="28575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4800" b="1" dirty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/>
                </a:solidFill>
                <a:latin typeface="PP Telegraf"/>
              </a:rPr>
              <a:t>ABX</a:t>
            </a:r>
            <a:r>
              <a:rPr lang="de-DE" sz="4800" b="1" baseline="-25000" dirty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/>
                </a:solidFill>
                <a:latin typeface="PP Telegraf"/>
              </a:rPr>
              <a:t>3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B3DA680-172A-6F60-7D5F-58200DF36CB8}"/>
              </a:ext>
            </a:extLst>
          </p:cNvPr>
          <p:cNvSpPr txBox="1"/>
          <p:nvPr/>
        </p:nvSpPr>
        <p:spPr>
          <a:xfrm>
            <a:off x="4168563" y="2427814"/>
            <a:ext cx="188494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PP Telegraf"/>
              </a:rPr>
              <a:t>A –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organic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cation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B –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metal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on</a:t>
            </a:r>
            <a:endParaRPr lang="de-DE" dirty="0">
              <a:solidFill>
                <a:schemeClr val="bg1"/>
              </a:solidFill>
              <a:latin typeface="PP Telegraf"/>
            </a:endParaRPr>
          </a:p>
          <a:p>
            <a:r>
              <a:rPr lang="de-DE" dirty="0">
                <a:solidFill>
                  <a:schemeClr val="bg1"/>
                </a:solidFill>
                <a:latin typeface="PP Telegraf"/>
              </a:rPr>
              <a:t>X  -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halide</a:t>
            </a:r>
            <a:r>
              <a:rPr lang="de-DE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PP Telegraf"/>
              </a:rPr>
              <a:t>ion</a:t>
            </a:r>
            <a:endParaRPr lang="de-DE" dirty="0">
              <a:solidFill>
                <a:schemeClr val="bg1"/>
              </a:solidFill>
              <a:latin typeface="PP Telegraf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3B0B246-CB10-33DD-86C2-D37E5BFA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73" y="3612591"/>
            <a:ext cx="4630150" cy="197723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A2ACC50-F5E0-35D2-C407-7B0EA4606F69}"/>
              </a:ext>
            </a:extLst>
          </p:cNvPr>
          <p:cNvSpPr txBox="1"/>
          <p:nvPr/>
        </p:nvSpPr>
        <p:spPr>
          <a:xfrm>
            <a:off x="479423" y="5589829"/>
            <a:ext cx="49991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PP Telegraf"/>
              </a:rPr>
              <a:t>On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most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abundant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crystal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structur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on Earth, 38%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Earth‘s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mass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consists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4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PP Telegraf"/>
              </a:rPr>
              <a:t>perovskites</a:t>
            </a:r>
            <a:endParaRPr lang="de-DE" sz="1400" dirty="0">
              <a:solidFill>
                <a:schemeClr val="bg1"/>
              </a:solidFill>
              <a:latin typeface="PP Telegraf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E402A34-8EF4-336D-734D-4630C29A00F7}"/>
              </a:ext>
            </a:extLst>
          </p:cNvPr>
          <p:cNvSpPr txBox="1"/>
          <p:nvPr/>
        </p:nvSpPr>
        <p:spPr>
          <a:xfrm>
            <a:off x="5539003" y="6395843"/>
            <a:ext cx="63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>
                <a:solidFill>
                  <a:schemeClr val="accent4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anowerk.com/what-are-perovskites.php</a:t>
            </a:r>
            <a:r>
              <a:rPr lang="de-DE" sz="1200" dirty="0">
                <a:solidFill>
                  <a:schemeClr val="accent4"/>
                </a:solidFill>
              </a:rPr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DABB10D-9887-05B9-60D2-9FD0961D3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7317" y="2653126"/>
            <a:ext cx="3570069" cy="2945878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A7157529-585E-BC85-E766-AB41A21C6D83}"/>
              </a:ext>
            </a:extLst>
          </p:cNvPr>
          <p:cNvSpPr txBox="1"/>
          <p:nvPr/>
        </p:nvSpPr>
        <p:spPr>
          <a:xfrm>
            <a:off x="6640062" y="1624263"/>
            <a:ext cx="5068378" cy="681626"/>
          </a:xfrm>
          <a:prstGeom prst="rect">
            <a:avLst/>
          </a:prstGeom>
        </p:spPr>
        <p:txBody>
          <a:bodyPr vert="horz" wrap="none" lIns="0" tIns="0" rIns="0" bIns="0" rtlCol="0" anchor="t">
            <a:normAutofit/>
          </a:bodyPr>
          <a:lstStyle/>
          <a:p>
            <a:pPr algn="l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The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working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rinciple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perovskit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r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ame</a:t>
            </a:r>
          </a:p>
          <a:p>
            <a:pPr algn="l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as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for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stadard</a:t>
            </a:r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 Si </a:t>
            </a:r>
            <a:r>
              <a:rPr lang="de-DE" dirty="0" err="1">
                <a:solidFill>
                  <a:schemeClr val="bg1">
                    <a:lumMod val="95000"/>
                  </a:schemeClr>
                </a:solidFill>
              </a:rPr>
              <a:t>cells</a:t>
            </a:r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70C5A2E-CD27-EC2F-C495-C214EC0CE4EE}"/>
              </a:ext>
            </a:extLst>
          </p:cNvPr>
          <p:cNvCxnSpPr/>
          <p:nvPr/>
        </p:nvCxnSpPr>
        <p:spPr>
          <a:xfrm>
            <a:off x="6044563" y="1527243"/>
            <a:ext cx="0" cy="469845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E46C3F94-636D-C660-D203-7F0A2669211E}"/>
              </a:ext>
            </a:extLst>
          </p:cNvPr>
          <p:cNvSpPr/>
          <p:nvPr/>
        </p:nvSpPr>
        <p:spPr>
          <a:xfrm>
            <a:off x="394996" y="61893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73918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6FD43B-95E8-0344-9485-DDBB6B61963C}"/>
              </a:ext>
            </a:extLst>
          </p:cNvPr>
          <p:cNvSpPr/>
          <p:nvPr/>
        </p:nvSpPr>
        <p:spPr>
          <a:xfrm>
            <a:off x="5848193" y="0"/>
            <a:ext cx="1583739" cy="6858000"/>
          </a:xfrm>
          <a:prstGeom prst="rect">
            <a:avLst/>
          </a:prstGeom>
          <a:gradFill flip="none" rotWithShape="1">
            <a:gsLst>
              <a:gs pos="34000">
                <a:schemeClr val="accent2"/>
              </a:gs>
              <a:gs pos="100000">
                <a:srgbClr val="123596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CA7B33E-A761-8B17-C8B0-98CD0B1247C7}"/>
              </a:ext>
            </a:extLst>
          </p:cNvPr>
          <p:cNvSpPr/>
          <p:nvPr/>
        </p:nvSpPr>
        <p:spPr>
          <a:xfrm>
            <a:off x="6044563" y="0"/>
            <a:ext cx="61474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Text Placeholder 38">
            <a:extLst>
              <a:ext uri="{FF2B5EF4-FFF2-40B4-BE49-F238E27FC236}">
                <a16:creationId xmlns:a16="http://schemas.microsoft.com/office/drawing/2014/main" id="{45D7F91B-1C46-C670-3160-71A9E2A3314E}"/>
              </a:ext>
            </a:extLst>
          </p:cNvPr>
          <p:cNvSpPr txBox="1">
            <a:spLocks/>
          </p:cNvSpPr>
          <p:nvPr/>
        </p:nvSpPr>
        <p:spPr>
          <a:xfrm>
            <a:off x="479423" y="297668"/>
            <a:ext cx="4148561" cy="2428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50"/>
              </a:lnSpc>
              <a:buNone/>
            </a:pPr>
            <a:r>
              <a:rPr lang="en-US" sz="1200" dirty="0">
                <a:solidFill>
                  <a:schemeClr val="accent4"/>
                </a:solidFill>
              </a:rPr>
              <a:t>5 | Perovskite market</a:t>
            </a:r>
          </a:p>
          <a:p>
            <a:pPr marL="0" indent="0">
              <a:lnSpc>
                <a:spcPts val="1450"/>
              </a:lnSpc>
              <a:buNone/>
            </a:pP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CA470BCB-7D67-6ACD-DC79-AF867ACD7F59}"/>
              </a:ext>
            </a:extLst>
          </p:cNvPr>
          <p:cNvSpPr txBox="1">
            <a:spLocks/>
          </p:cNvSpPr>
          <p:nvPr/>
        </p:nvSpPr>
        <p:spPr>
          <a:xfrm>
            <a:off x="479423" y="1052531"/>
            <a:ext cx="11229019" cy="5480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P Telegraf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bg1"/>
                </a:solidFill>
              </a:rPr>
              <a:t>Perovskite cell efficiency experience a much more rapid growth than other solution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F983847-DAB7-C911-AF37-F6655A64CF14}"/>
              </a:ext>
            </a:extLst>
          </p:cNvPr>
          <p:cNvSpPr txBox="1"/>
          <p:nvPr/>
        </p:nvSpPr>
        <p:spPr>
          <a:xfrm>
            <a:off x="5697627" y="6596390"/>
            <a:ext cx="63209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>
                <a:solidFill>
                  <a:schemeClr val="accent4"/>
                </a:solidFill>
                <a:latin typeface="PP Telegraf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rel.gov/pv/cell-efficiency.html</a:t>
            </a:r>
            <a:r>
              <a:rPr lang="de-DE" sz="1100" dirty="0">
                <a:solidFill>
                  <a:schemeClr val="accent4"/>
                </a:solidFill>
                <a:latin typeface="PP Telegraf"/>
              </a:rPr>
              <a:t> </a:t>
            </a:r>
          </a:p>
          <a:p>
            <a:pPr algn="r"/>
            <a:endParaRPr lang="de-DE" sz="1100" dirty="0">
              <a:solidFill>
                <a:schemeClr val="bg1"/>
              </a:solidFill>
            </a:endParaRPr>
          </a:p>
        </p:txBody>
      </p:sp>
      <p:pic>
        <p:nvPicPr>
          <p:cNvPr id="5122" name="Picture 2" descr="Chart showing record efficiencies over time of perovskite PV devices compared to other PV technologies. ">
            <a:extLst>
              <a:ext uri="{FF2B5EF4-FFF2-40B4-BE49-F238E27FC236}">
                <a16:creationId xmlns:a16="http://schemas.microsoft.com/office/drawing/2014/main" id="{D5E712E4-1777-EBC7-7C66-46E228435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784" y="1787207"/>
            <a:ext cx="4694028" cy="423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C19FD7E-210B-B0D0-797D-453A1FE903BE}"/>
              </a:ext>
            </a:extLst>
          </p:cNvPr>
          <p:cNvSpPr txBox="1"/>
          <p:nvPr/>
        </p:nvSpPr>
        <p:spPr>
          <a:xfrm>
            <a:off x="5747657" y="1787207"/>
            <a:ext cx="5458408" cy="4236098"/>
          </a:xfrm>
          <a:prstGeom prst="rect">
            <a:avLst/>
          </a:prstGeom>
        </p:spPr>
        <p:txBody>
          <a:bodyPr vert="horz" wrap="square" lIns="0" tIns="0" rIns="0" bIns="0" rtlCol="0" anchor="t">
            <a:normAutofit fontScale="92500" lnSpcReduction="10000"/>
          </a:bodyPr>
          <a:lstStyle/>
          <a:p>
            <a:pPr algn="l"/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There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are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few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more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aspect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that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make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perovskites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a promising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solution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on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the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 PV </a:t>
            </a:r>
            <a:r>
              <a:rPr lang="de-DE" sz="2100" b="1" dirty="0" err="1">
                <a:solidFill>
                  <a:schemeClr val="bg1">
                    <a:lumMod val="95000"/>
                  </a:schemeClr>
                </a:solidFill>
              </a:rPr>
              <a:t>market</a:t>
            </a:r>
            <a:r>
              <a:rPr lang="de-DE" sz="2100" b="1" dirty="0">
                <a:solidFill>
                  <a:schemeClr val="bg1">
                    <a:lumMod val="95000"/>
                  </a:schemeClr>
                </a:solidFill>
              </a:rPr>
              <a:t>:</a:t>
            </a:r>
          </a:p>
          <a:p>
            <a:pPr algn="l"/>
            <a:endParaRPr lang="de-DE" b="1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>
                <a:solidFill>
                  <a:schemeClr val="bg1"/>
                </a:solidFill>
                <a:latin typeface="PP Telegraf"/>
              </a:rPr>
              <a:t>Great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oleranc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defect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– Si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anel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requir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extremely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high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urity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whil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erovsite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hav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good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conversion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factor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even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with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imperfections</a:t>
            </a:r>
            <a:endParaRPr lang="de-DE" sz="1700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>
                <a:solidFill>
                  <a:schemeClr val="bg1"/>
                </a:solidFill>
                <a:latin typeface="PP Telegraf"/>
              </a:rPr>
              <a:t>Lesser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sensitivity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angle at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which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light falls 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roduction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require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much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les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amount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energy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compared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o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Si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anel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–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it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make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cells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cheaper</a:t>
            </a:r>
            <a:endParaRPr lang="de-DE" sz="1700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Flexibility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(56%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of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erovskit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market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b="1" u="sng" dirty="0" err="1">
                <a:solidFill>
                  <a:schemeClr val="bg1"/>
                </a:solidFill>
                <a:latin typeface="PP Telegraf"/>
              </a:rPr>
              <a:t>Translucent</a:t>
            </a:r>
            <a:r>
              <a:rPr lang="de-DE" sz="1700" b="1" u="sng" dirty="0">
                <a:solidFill>
                  <a:schemeClr val="bg1"/>
                </a:solidFill>
                <a:latin typeface="PP Telegraf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b="1" u="sng" dirty="0">
                <a:solidFill>
                  <a:schemeClr val="bg1"/>
                </a:solidFill>
                <a:latin typeface="PP Telegraf"/>
              </a:rPr>
              <a:t>Great </a:t>
            </a:r>
            <a:r>
              <a:rPr lang="de-DE" sz="1700" b="1" u="sng" dirty="0" err="1">
                <a:solidFill>
                  <a:schemeClr val="bg1"/>
                </a:solidFill>
                <a:latin typeface="PP Telegraf"/>
              </a:rPr>
              <a:t>performance</a:t>
            </a:r>
            <a:r>
              <a:rPr lang="de-DE" sz="1700" b="1" u="sng" dirty="0">
                <a:solidFill>
                  <a:schemeClr val="bg1"/>
                </a:solidFill>
                <a:latin typeface="PP Telegraf"/>
              </a:rPr>
              <a:t> in </a:t>
            </a:r>
            <a:r>
              <a:rPr lang="de-DE" sz="1700" b="1" u="sng" dirty="0" err="1">
                <a:solidFill>
                  <a:schemeClr val="bg1"/>
                </a:solidFill>
                <a:latin typeface="PP Telegraf"/>
              </a:rPr>
              <a:t>the</a:t>
            </a:r>
            <a:r>
              <a:rPr lang="de-DE" sz="1700" b="1" u="sng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b="1" u="sng" dirty="0" err="1">
                <a:solidFill>
                  <a:schemeClr val="bg1"/>
                </a:solidFill>
                <a:latin typeface="PP Telegraf"/>
              </a:rPr>
              <a:t>artificial</a:t>
            </a:r>
            <a:r>
              <a:rPr lang="de-DE" sz="1700" b="1" u="sng" dirty="0">
                <a:solidFill>
                  <a:schemeClr val="bg1"/>
                </a:solidFill>
                <a:latin typeface="PP Telegraf"/>
              </a:rPr>
              <a:t> ligh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100" b="1" dirty="0">
              <a:solidFill>
                <a:schemeClr val="bg1"/>
              </a:solidFill>
              <a:latin typeface="PP Telegraf"/>
            </a:endParaRPr>
          </a:p>
          <a:p>
            <a:r>
              <a:rPr lang="de-DE" sz="2100" b="1" dirty="0" err="1">
                <a:solidFill>
                  <a:schemeClr val="bg1"/>
                </a:solidFill>
                <a:latin typeface="PP Telegraf"/>
              </a:rPr>
              <a:t>Nevertheless</a:t>
            </a:r>
            <a:r>
              <a:rPr lang="de-DE" sz="2100" b="1" dirty="0">
                <a:solidFill>
                  <a:schemeClr val="bg1"/>
                </a:solidFill>
                <a:latin typeface="PP Telegraf"/>
              </a:rPr>
              <a:t>, </a:t>
            </a:r>
            <a:r>
              <a:rPr lang="de-DE" sz="2100" b="1" dirty="0" err="1">
                <a:solidFill>
                  <a:schemeClr val="bg1"/>
                </a:solidFill>
                <a:latin typeface="PP Telegraf"/>
              </a:rPr>
              <a:t>there</a:t>
            </a:r>
            <a:r>
              <a:rPr lang="de-DE" sz="2100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100" b="1" dirty="0" err="1">
                <a:solidFill>
                  <a:schemeClr val="bg1"/>
                </a:solidFill>
                <a:latin typeface="PP Telegraf"/>
              </a:rPr>
              <a:t>is</a:t>
            </a:r>
            <a:r>
              <a:rPr lang="de-DE" sz="2100" b="1" dirty="0">
                <a:solidFill>
                  <a:schemeClr val="bg1"/>
                </a:solidFill>
                <a:latin typeface="PP Telegraf"/>
              </a:rPr>
              <a:t> still </a:t>
            </a:r>
            <a:r>
              <a:rPr lang="de-DE" sz="2100" b="1" dirty="0" err="1">
                <a:solidFill>
                  <a:schemeClr val="bg1"/>
                </a:solidFill>
                <a:latin typeface="PP Telegraf"/>
              </a:rPr>
              <a:t>space</a:t>
            </a:r>
            <a:r>
              <a:rPr lang="de-DE" sz="2100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100" b="1" dirty="0" err="1">
                <a:solidFill>
                  <a:schemeClr val="bg1"/>
                </a:solidFill>
                <a:latin typeface="PP Telegraf"/>
              </a:rPr>
              <a:t>for</a:t>
            </a:r>
            <a:r>
              <a:rPr lang="de-DE" sz="2100" b="1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2100" b="1" dirty="0" err="1">
                <a:solidFill>
                  <a:schemeClr val="bg1"/>
                </a:solidFill>
                <a:latin typeface="PP Telegraf"/>
              </a:rPr>
              <a:t>improvement</a:t>
            </a:r>
            <a:r>
              <a:rPr lang="de-DE" sz="2100" b="1" dirty="0">
                <a:solidFill>
                  <a:schemeClr val="bg1"/>
                </a:solidFill>
                <a:latin typeface="PP Telegraf"/>
              </a:rPr>
              <a:t>:</a:t>
            </a:r>
          </a:p>
          <a:p>
            <a:endParaRPr lang="de-DE" sz="1600" b="1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Lifespan</a:t>
            </a:r>
            <a:endParaRPr lang="de-DE" sz="1700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Pb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(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lead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)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toxicity</a:t>
            </a:r>
            <a:endParaRPr lang="de-DE" sz="1700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Current-voltage</a:t>
            </a:r>
            <a:r>
              <a:rPr lang="de-DE" sz="1700" dirty="0">
                <a:solidFill>
                  <a:schemeClr val="bg1"/>
                </a:solidFill>
                <a:latin typeface="PP Telegraf"/>
              </a:rPr>
              <a:t> </a:t>
            </a:r>
            <a:r>
              <a:rPr lang="de-DE" sz="1700" dirty="0" err="1">
                <a:solidFill>
                  <a:schemeClr val="bg1"/>
                </a:solidFill>
                <a:latin typeface="PP Telegraf"/>
              </a:rPr>
              <a:t>hysteresis</a:t>
            </a:r>
            <a:endParaRPr lang="de-DE" sz="1700" dirty="0">
              <a:solidFill>
                <a:schemeClr val="bg1"/>
              </a:solidFill>
              <a:latin typeface="PP Telegra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1" dirty="0">
              <a:solidFill>
                <a:schemeClr val="bg1"/>
              </a:solidFill>
              <a:latin typeface="PP Telegraf"/>
            </a:endParaRPr>
          </a:p>
          <a:p>
            <a:pPr algn="l"/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  <a:p>
            <a:pPr algn="l"/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8587686-CACC-6C00-240C-95C995992245}"/>
              </a:ext>
            </a:extLst>
          </p:cNvPr>
          <p:cNvSpPr/>
          <p:nvPr/>
        </p:nvSpPr>
        <p:spPr>
          <a:xfrm>
            <a:off x="242596" y="6036906"/>
            <a:ext cx="1830139" cy="63448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8681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FFFFF"/>
      </a:lt1>
      <a:dk2>
        <a:srgbClr val="434343"/>
      </a:dk2>
      <a:lt2>
        <a:srgbClr val="EDF3EE"/>
      </a:lt2>
      <a:accent1>
        <a:srgbClr val="6B99C3"/>
      </a:accent1>
      <a:accent2>
        <a:srgbClr val="123496"/>
      </a:accent2>
      <a:accent3>
        <a:srgbClr val="065C48"/>
      </a:accent3>
      <a:accent4>
        <a:srgbClr val="FFA700"/>
      </a:accent4>
      <a:accent5>
        <a:srgbClr val="F1D3C8"/>
      </a:accent5>
      <a:accent6>
        <a:srgbClr val="F8FF4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 anchor="t">
        <a:normAutofit lnSpcReduction="10000"/>
      </a:bodyPr>
      <a:lstStyle>
        <a:defPPr algn="l">
          <a:defRPr sz="5200" dirty="0">
            <a:solidFill>
              <a:schemeClr val="bg1">
                <a:lumMod val="9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D6054050E33C408A11FD9AC667C343" ma:contentTypeVersion="15" ma:contentTypeDescription="Create a new document." ma:contentTypeScope="" ma:versionID="66879e1881d5a1de8a294e188d8667df">
  <xsd:schema xmlns:xsd="http://www.w3.org/2001/XMLSchema" xmlns:xs="http://www.w3.org/2001/XMLSchema" xmlns:p="http://schemas.microsoft.com/office/2006/metadata/properties" xmlns:ns2="5f7d04ea-2b79-4755-9feb-949d3a63e9a9" xmlns:ns3="964228ef-b521-4301-bccc-59680e33b8e7" targetNamespace="http://schemas.microsoft.com/office/2006/metadata/properties" ma:root="true" ma:fieldsID="febda74f4810279cf73e428c3d5457d1" ns2:_="" ns3:_="">
    <xsd:import namespace="5f7d04ea-2b79-4755-9feb-949d3a63e9a9"/>
    <xsd:import namespace="964228ef-b521-4301-bccc-59680e33b8e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7d04ea-2b79-4755-9feb-949d3a63e9a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9" nillable="true" ma:displayName="Taxonomy Catch All Column" ma:hidden="true" ma:list="{f2602b9c-93fc-496a-9120-1faba2154679}" ma:internalName="TaxCatchAll" ma:showField="CatchAllData" ma:web="5f7d04ea-2b79-4755-9feb-949d3a63e9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4228ef-b521-4301-bccc-59680e33b8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0b222cb2-2a0a-423c-ad68-9e5f87682dd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f7d04ea-2b79-4755-9feb-949d3a63e9a9">44PR4YA5ASW2-2119224535-664</_dlc_DocId>
    <_dlc_DocIdUrl xmlns="5f7d04ea-2b79-4755-9feb-949d3a63e9a9">
      <Url>https://matterwave.sharepoint.com/sites/documents/_layouts/15/DocIdRedir.aspx?ID=44PR4YA5ASW2-2119224535-664</Url>
      <Description>44PR4YA5ASW2-2119224535-664</Description>
    </_dlc_DocIdUrl>
    <TaxCatchAll xmlns="5f7d04ea-2b79-4755-9feb-949d3a63e9a9" xsi:nil="true"/>
    <lcf76f155ced4ddcb4097134ff3c332f xmlns="964228ef-b521-4301-bccc-59680e33b8e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E0CA69D-4DE2-4349-B496-CE85E07FE7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5B0556-3BE3-46C2-A18D-E0C9FCE902A1}">
  <ds:schemaRefs>
    <ds:schemaRef ds:uri="5f7d04ea-2b79-4755-9feb-949d3a63e9a9"/>
    <ds:schemaRef ds:uri="964228ef-b521-4301-bccc-59680e33b8e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5DFFCCD-6D8E-4CDA-95F5-4C4D77FF8E0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E2B12644-A5BB-435C-8598-729C976BD82F}">
  <ds:schemaRefs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964228ef-b521-4301-bccc-59680e33b8e7"/>
    <ds:schemaRef ds:uri="http://purl.org/dc/terms/"/>
    <ds:schemaRef ds:uri="5f7d04ea-2b79-4755-9feb-949d3a63e9a9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28</Words>
  <Application>Microsoft Office PowerPoint</Application>
  <PresentationFormat>Breitbild</PresentationFormat>
  <Paragraphs>303</Paragraphs>
  <Slides>18</Slides>
  <Notes>1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3" baseType="lpstr">
      <vt:lpstr>Arial</vt:lpstr>
      <vt:lpstr>Calibri</vt:lpstr>
      <vt:lpstr>PP Telegraf</vt:lpstr>
      <vt:lpstr>Roboto Slab</vt:lpstr>
      <vt:lpstr>Offi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terwave Ventures Industrial Deep Tech Fund II</dc:title>
  <dc:subject/>
  <dc:creator>Matterwave Ventures</dc:creator>
  <cp:keywords/>
  <dc:description/>
  <cp:lastModifiedBy>Klaudia Gnyla</cp:lastModifiedBy>
  <cp:revision>4</cp:revision>
  <cp:lastPrinted>2022-08-03T11:49:41Z</cp:lastPrinted>
  <dcterms:created xsi:type="dcterms:W3CDTF">2022-01-18T09:55:41Z</dcterms:created>
  <dcterms:modified xsi:type="dcterms:W3CDTF">2023-02-17T14:05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D6054050E33C408A11FD9AC667C343</vt:lpwstr>
  </property>
  <property fmtid="{D5CDD505-2E9C-101B-9397-08002B2CF9AE}" pid="3" name="_dlc_DocIdItemGuid">
    <vt:lpwstr>c12e396c-b142-43f8-98bf-7232813ac34e</vt:lpwstr>
  </property>
  <property fmtid="{D5CDD505-2E9C-101B-9397-08002B2CF9AE}" pid="4" name="MediaServiceImageTags">
    <vt:lpwstr/>
  </property>
</Properties>
</file>